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1.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32.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tags/tag1.xml" ContentType="application/vnd.openxmlformats-officedocument.presentationml.tags+xml"/>
  <Override PartName="/ppt/notesSlides/notesSlide33.xml" ContentType="application/vnd.openxmlformats-officedocument.presentationml.notesSlide+xml"/>
  <Override PartName="/ppt/tags/tag2.xml" ContentType="application/vnd.openxmlformats-officedocument.presentationml.tags+xml"/>
  <Override PartName="/ppt/notesSlides/notesSlide3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5.xml" ContentType="application/vnd.openxmlformats-officedocument.presentationml.notesSlide+xml"/>
  <Override PartName="/ppt/tags/tag7.xml" ContentType="application/vnd.openxmlformats-officedocument.presentationml.tags+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9" r:id="rId2"/>
    <p:sldMasterId id="2147483671" r:id="rId3"/>
  </p:sldMasterIdLst>
  <p:notesMasterIdLst>
    <p:notesMasterId r:id="rId74"/>
  </p:notesMasterIdLst>
  <p:sldIdLst>
    <p:sldId id="423" r:id="rId4"/>
    <p:sldId id="380" r:id="rId5"/>
    <p:sldId id="288" r:id="rId6"/>
    <p:sldId id="435" r:id="rId7"/>
    <p:sldId id="436" r:id="rId8"/>
    <p:sldId id="438" r:id="rId9"/>
    <p:sldId id="439" r:id="rId10"/>
    <p:sldId id="440" r:id="rId11"/>
    <p:sldId id="442" r:id="rId12"/>
    <p:sldId id="443" r:id="rId13"/>
    <p:sldId id="445" r:id="rId14"/>
    <p:sldId id="447" r:id="rId15"/>
    <p:sldId id="448" r:id="rId16"/>
    <p:sldId id="451" r:id="rId17"/>
    <p:sldId id="454" r:id="rId18"/>
    <p:sldId id="455" r:id="rId19"/>
    <p:sldId id="483" r:id="rId20"/>
    <p:sldId id="463" r:id="rId21"/>
    <p:sldId id="464" r:id="rId22"/>
    <p:sldId id="465" r:id="rId23"/>
    <p:sldId id="484" r:id="rId24"/>
    <p:sldId id="485" r:id="rId25"/>
    <p:sldId id="486" r:id="rId26"/>
    <p:sldId id="487" r:id="rId27"/>
    <p:sldId id="488" r:id="rId28"/>
    <p:sldId id="489" r:id="rId29"/>
    <p:sldId id="490" r:id="rId30"/>
    <p:sldId id="491" r:id="rId31"/>
    <p:sldId id="492" r:id="rId32"/>
    <p:sldId id="493" r:id="rId33"/>
    <p:sldId id="494" r:id="rId34"/>
    <p:sldId id="495" r:id="rId35"/>
    <p:sldId id="496" r:id="rId36"/>
    <p:sldId id="497" r:id="rId37"/>
    <p:sldId id="498" r:id="rId38"/>
    <p:sldId id="499" r:id="rId39"/>
    <p:sldId id="500" r:id="rId40"/>
    <p:sldId id="501" r:id="rId41"/>
    <p:sldId id="502" r:id="rId42"/>
    <p:sldId id="503" r:id="rId43"/>
    <p:sldId id="504" r:id="rId44"/>
    <p:sldId id="505" r:id="rId45"/>
    <p:sldId id="506" r:id="rId46"/>
    <p:sldId id="507" r:id="rId47"/>
    <p:sldId id="508" r:id="rId48"/>
    <p:sldId id="509" r:id="rId49"/>
    <p:sldId id="510" r:id="rId50"/>
    <p:sldId id="511" r:id="rId51"/>
    <p:sldId id="512" r:id="rId52"/>
    <p:sldId id="513" r:id="rId53"/>
    <p:sldId id="514" r:id="rId54"/>
    <p:sldId id="515" r:id="rId55"/>
    <p:sldId id="516" r:id="rId56"/>
    <p:sldId id="517" r:id="rId57"/>
    <p:sldId id="518" r:id="rId58"/>
    <p:sldId id="519" r:id="rId59"/>
    <p:sldId id="520" r:id="rId60"/>
    <p:sldId id="521" r:id="rId61"/>
    <p:sldId id="522" r:id="rId62"/>
    <p:sldId id="523" r:id="rId63"/>
    <p:sldId id="524" r:id="rId64"/>
    <p:sldId id="525" r:id="rId65"/>
    <p:sldId id="526" r:id="rId66"/>
    <p:sldId id="527" r:id="rId67"/>
    <p:sldId id="528" r:id="rId68"/>
    <p:sldId id="529" r:id="rId69"/>
    <p:sldId id="530" r:id="rId70"/>
    <p:sldId id="531" r:id="rId71"/>
    <p:sldId id="532" r:id="rId72"/>
    <p:sldId id="533" r:id="rId73"/>
  </p:sldIdLst>
  <p:sldSz cx="9144000" cy="5143500" type="screen16x9"/>
  <p:notesSz cx="6807200" cy="9906000"/>
  <p:defaultTextStyle>
    <a:lvl1pPr defTabSz="457200">
      <a:defRPr>
        <a:latin typeface="+mn-lt"/>
        <a:ea typeface="+mn-ea"/>
        <a:cs typeface="+mn-cs"/>
        <a:sym typeface="Helvetica Neue"/>
      </a:defRPr>
    </a:lvl1pPr>
    <a:lvl2pPr defTabSz="457200">
      <a:defRPr>
        <a:latin typeface="+mn-lt"/>
        <a:ea typeface="+mn-ea"/>
        <a:cs typeface="+mn-cs"/>
        <a:sym typeface="Helvetica Neue"/>
      </a:defRPr>
    </a:lvl2pPr>
    <a:lvl3pPr defTabSz="457200">
      <a:defRPr>
        <a:latin typeface="+mn-lt"/>
        <a:ea typeface="+mn-ea"/>
        <a:cs typeface="+mn-cs"/>
        <a:sym typeface="Helvetica Neue"/>
      </a:defRPr>
    </a:lvl3pPr>
    <a:lvl4pPr defTabSz="457200">
      <a:defRPr>
        <a:latin typeface="+mn-lt"/>
        <a:ea typeface="+mn-ea"/>
        <a:cs typeface="+mn-cs"/>
        <a:sym typeface="Helvetica Neue"/>
      </a:defRPr>
    </a:lvl4pPr>
    <a:lvl5pPr defTabSz="457200">
      <a:defRPr>
        <a:latin typeface="+mn-lt"/>
        <a:ea typeface="+mn-ea"/>
        <a:cs typeface="+mn-cs"/>
        <a:sym typeface="Helvetica Neue"/>
      </a:defRPr>
    </a:lvl5pPr>
    <a:lvl6pPr defTabSz="457200">
      <a:defRPr>
        <a:latin typeface="+mn-lt"/>
        <a:ea typeface="+mn-ea"/>
        <a:cs typeface="+mn-cs"/>
        <a:sym typeface="Helvetica Neue"/>
      </a:defRPr>
    </a:lvl6pPr>
    <a:lvl7pPr defTabSz="457200">
      <a:defRPr>
        <a:latin typeface="+mn-lt"/>
        <a:ea typeface="+mn-ea"/>
        <a:cs typeface="+mn-cs"/>
        <a:sym typeface="Helvetica Neue"/>
      </a:defRPr>
    </a:lvl7pPr>
    <a:lvl8pPr defTabSz="457200">
      <a:defRPr>
        <a:latin typeface="+mn-lt"/>
        <a:ea typeface="+mn-ea"/>
        <a:cs typeface="+mn-cs"/>
        <a:sym typeface="Helvetica Neue"/>
      </a:defRPr>
    </a:lvl8pPr>
    <a:lvl9pPr defTabSz="457200">
      <a:defRPr>
        <a:latin typeface="+mn-lt"/>
        <a:ea typeface="+mn-ea"/>
        <a:cs typeface="+mn-cs"/>
        <a:sym typeface="Helvetica Neue"/>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guide id="3" orient="horz" pos="227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n" i="on">
        <a:fontRef idx="min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CE4F8"/>
          </a:solidFill>
        </a:fill>
      </a:tcStyle>
    </a:wholeTbl>
    <a:band2H>
      <a:tcTxStyle/>
      <a:tcStyle>
        <a:tcBdr/>
        <a:fill>
          <a:solidFill>
            <a:srgbClr val="E7F2FB"/>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34B1EC"/>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34B1EC"/>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34B1EC"/>
          </a:solidFill>
        </a:fill>
      </a:tcStyle>
    </a:firstRow>
  </a:tblStyle>
  <a:tblStyle styleId="{C7B018BB-80A7-4F77-B60F-C8B233D01FF8}" styleName="">
    <a:tblBg/>
    <a:wholeTbl>
      <a:tcTxStyle b="on" i="on">
        <a:fontRef idx="min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9CFCC"/>
          </a:solidFill>
        </a:fill>
      </a:tcStyle>
    </a:wholeTbl>
    <a:band2H>
      <a:tcTxStyle/>
      <a:tcStyle>
        <a:tcBdr/>
        <a:fill>
          <a:solidFill>
            <a:srgbClr val="FCE8E7"/>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04E37"/>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04E37"/>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04E37"/>
          </a:solidFill>
        </a:fill>
      </a:tcStyle>
    </a:firstRow>
  </a:tblStyle>
  <a:tblStyle styleId="{EEE7283C-3CF3-47DC-8721-378D4A62B228}" styleName="">
    <a:tblBg/>
    <a:wholeTbl>
      <a:tcTxStyle b="on" i="on">
        <a:fontRef idx="min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EEEFA"/>
          </a:solidFill>
        </a:fill>
      </a:tcStyle>
    </a:wholeTbl>
    <a:band2H>
      <a:tcTxStyle/>
      <a:tcStyle>
        <a:tcBdr/>
        <a:fill>
          <a:solidFill>
            <a:srgbClr val="EFF6FD"/>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D0F3"/>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D0F3"/>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DD0F3"/>
          </a:solidFill>
        </a:fill>
      </a:tcStyle>
    </a:firstRow>
  </a:tblStyle>
  <a:tblStyle styleId="{CF821DB8-F4EB-4A41-A1BA-3FCAFE7338EE}" styleName="">
    <a:tblBg/>
    <a:wholeTbl>
      <a:tcTxStyle b="on" i="on">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rgbClr val="FFFFFF"/>
          </a:solidFill>
        </a:fill>
      </a:tcStyle>
    </a:band2H>
    <a:firstCol>
      <a:tcTxStyle b="on" i="on">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34B1EC"/>
          </a:solidFill>
        </a:fill>
      </a:tcStyle>
    </a:firstCol>
    <a:lastRow>
      <a:tcTxStyle b="on" i="on">
        <a:fontRef idx="minor">
          <a:srgbClr val="000000"/>
        </a:fontRef>
        <a:srgbClr val="000000"/>
      </a:tcTxStyle>
      <a:tcStyle>
        <a:tcBdr>
          <a:left>
            <a:ln w="12700" cap="flat">
              <a:noFill/>
              <a:miter lim="400000"/>
            </a:ln>
          </a:left>
          <a:right>
            <a:ln w="12700" cap="flat">
              <a:noFill/>
              <a:miter lim="400000"/>
            </a:ln>
          </a:right>
          <a:top>
            <a:ln w="508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Ref idx="minor">
          <a:srgbClr val="FFFFFF"/>
        </a:fontRef>
        <a:srgbClr val="FFFFFF"/>
      </a:tcTxStyle>
      <a:tcStyle>
        <a:tcBdr>
          <a:left>
            <a:ln w="12700" cap="flat">
              <a:noFill/>
              <a:miter lim="400000"/>
            </a:ln>
          </a:left>
          <a:right>
            <a:ln w="12700" cap="flat">
              <a:noFill/>
              <a:miter lim="400000"/>
            </a:ln>
          </a:right>
          <a:top>
            <a:ln w="25400" cap="flat">
              <a:solidFill>
                <a:srgbClr val="000000"/>
              </a:solidFill>
              <a:prstDash val="solid"/>
              <a:bevel/>
            </a:ln>
          </a:top>
          <a:bottom>
            <a:ln w="25400" cap="flat">
              <a:solidFill>
                <a:srgbClr val="000000"/>
              </a:solidFill>
              <a:prstDash val="solid"/>
              <a:bevel/>
            </a:ln>
          </a:bottom>
          <a:insideH>
            <a:ln w="12700" cap="flat">
              <a:noFill/>
              <a:miter lim="400000"/>
            </a:ln>
          </a:insideH>
          <a:insideV>
            <a:ln w="12700" cap="flat">
              <a:noFill/>
              <a:miter lim="400000"/>
            </a:ln>
          </a:insideV>
        </a:tcBdr>
        <a:fill>
          <a:solidFill>
            <a:srgbClr val="34B1EC"/>
          </a:solidFill>
        </a:fill>
      </a:tcStyle>
    </a:firstRow>
  </a:tblStyle>
  <a:tblStyle styleId="{33BA23B1-9221-436E-865A-0063620EA4FD}" styleName="">
    <a:tblBg/>
    <a:wholeTbl>
      <a:tcTxStyle b="on" i="on">
        <a:fontRef idx="minor">
          <a:srgbClr val="000000"/>
        </a:fontRef>
        <a:srgbClr val="000000"/>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ACA"/>
          </a:solidFill>
        </a:fill>
      </a:tcStyle>
    </a:wholeTbl>
    <a:band2H>
      <a:tcTxStyle/>
      <a:tcStyle>
        <a:tcBdr/>
        <a:fill>
          <a:solidFill>
            <a:srgbClr val="E6E6E6"/>
          </a:solidFill>
        </a:fill>
      </a:tcStyle>
    </a:band2H>
    <a:firstCol>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Col>
    <a:la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lastRow>
    <a:firstRow>
      <a:tcTxStyle b="on" i="on">
        <a:fontRef idx="min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fill>
      </a:tcStyle>
    </a:firstRow>
  </a:tblStyle>
  <a:tblStyle styleId="{2708684C-4D16-4618-839F-0558EEFCDFE6}" styleName="">
    <a:tblBg/>
    <a:wholeTbl>
      <a:tcTxStyle b="on" i="on">
        <a:fontRef idx="min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wholeTbl>
    <a:band2H>
      <a:tcTxStyle/>
      <a:tcStyle>
        <a:tcBdr/>
        <a:fill>
          <a:solidFill>
            <a:srgbClr val="FFFFFF"/>
          </a:solidFill>
        </a:fill>
      </a:tcStyle>
    </a:band2H>
    <a:firstCol>
      <a:tcTxStyle b="on" i="on">
        <a:fontRef idx="min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solidFill>
            <a:srgbClr val="000000">
              <a:alpha val="20000"/>
            </a:srgbClr>
          </a:solidFill>
        </a:fill>
      </a:tcStyle>
    </a:firstCol>
    <a:lastRow>
      <a:tcTxStyle b="on" i="on">
        <a:fontRef idx="min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50800" cap="flat">
              <a:solidFill>
                <a:srgbClr val="000000"/>
              </a:solidFill>
              <a:prstDash val="solid"/>
              <a:bevel/>
            </a:ln>
          </a:top>
          <a:bottom>
            <a:ln w="127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lastRow>
    <a:firstRow>
      <a:tcTxStyle b="on" i="on">
        <a:fontRef idx="minor">
          <a:srgbClr val="000000"/>
        </a:fontRef>
        <a:srgbClr val="000000"/>
      </a:tcTxStyle>
      <a:tcStyle>
        <a:tcBdr>
          <a:left>
            <a:ln w="12700" cap="flat">
              <a:solidFill>
                <a:srgbClr val="000000"/>
              </a:solidFill>
              <a:prstDash val="solid"/>
              <a:bevel/>
            </a:ln>
          </a:left>
          <a:right>
            <a:ln w="12700" cap="flat">
              <a:solidFill>
                <a:srgbClr val="000000"/>
              </a:solidFill>
              <a:prstDash val="solid"/>
              <a:bevel/>
            </a:ln>
          </a:right>
          <a:top>
            <a:ln w="12700" cap="flat">
              <a:solidFill>
                <a:srgbClr val="000000"/>
              </a:solidFill>
              <a:prstDash val="solid"/>
              <a:bevel/>
            </a:ln>
          </a:top>
          <a:bottom>
            <a:ln w="25400" cap="flat">
              <a:solidFill>
                <a:srgbClr val="000000"/>
              </a:solidFill>
              <a:prstDash val="solid"/>
              <a:bevel/>
            </a:ln>
          </a:bottom>
          <a:insideH>
            <a:ln w="12700" cap="flat">
              <a:solidFill>
                <a:srgbClr val="000000"/>
              </a:solidFill>
              <a:prstDash val="solid"/>
              <a:bevel/>
            </a:ln>
          </a:insideH>
          <a:insideV>
            <a:ln w="12700" cap="flat">
              <a:solidFill>
                <a:srgbClr val="000000"/>
              </a:solidFill>
              <a:prstDash val="solid"/>
              <a:bevel/>
            </a:ln>
          </a:insideV>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1978" autoAdjust="0"/>
  </p:normalViewPr>
  <p:slideViewPr>
    <p:cSldViewPr snapToGrid="0" snapToObjects="1">
      <p:cViewPr varScale="1">
        <p:scale>
          <a:sx n="125" d="100"/>
          <a:sy n="125" d="100"/>
        </p:scale>
        <p:origin x="-384" y="-90"/>
      </p:cViewPr>
      <p:guideLst>
        <p:guide orient="horz" pos="2160"/>
        <p:guide orient="horz" pos="2278"/>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viewProps" Target="viewProps.xml"/><Relationship Id="rId7" Type="http://schemas.openxmlformats.org/officeDocument/2006/relationships/slide" Target="slides/slide4.xml"/><Relationship Id="rId71" Type="http://schemas.openxmlformats.org/officeDocument/2006/relationships/slide" Target="slides/slide68.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theme" Target="theme/theme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DC07205-FF94-448F-841A-40256B6B0AA8}" type="doc">
      <dgm:prSet loTypeId="urn:microsoft.com/office/officeart/2005/8/layout/hProcess9" loCatId="process" qsTypeId="urn:microsoft.com/office/officeart/2005/8/quickstyle/simple1" qsCatId="simple" csTypeId="urn:microsoft.com/office/officeart/2005/8/colors/accent1_2" csCatId="accent1" phldr="1"/>
      <dgm:spPr/>
    </dgm:pt>
    <dgm:pt modelId="{529D409C-BE70-4041-9507-3E8E5F75C354}">
      <dgm:prSet phldrT="[Text]"/>
      <dgm:spPr/>
      <dgm:t>
        <a:bodyPr/>
        <a:lstStyle/>
        <a:p>
          <a:r>
            <a:rPr lang="en-US" dirty="0" smtClean="0"/>
            <a:t>SQL</a:t>
          </a:r>
          <a:endParaRPr lang="en-US" dirty="0"/>
        </a:p>
      </dgm:t>
    </dgm:pt>
    <dgm:pt modelId="{AE72D484-9259-4330-8580-20F43B45D471}" type="parTrans" cxnId="{117EF97F-4F93-4626-8390-B82873F62B29}">
      <dgm:prSet/>
      <dgm:spPr/>
      <dgm:t>
        <a:bodyPr/>
        <a:lstStyle/>
        <a:p>
          <a:endParaRPr lang="en-US"/>
        </a:p>
      </dgm:t>
    </dgm:pt>
    <dgm:pt modelId="{C82912E7-D448-4211-8E15-53B6711DA703}" type="sibTrans" cxnId="{117EF97F-4F93-4626-8390-B82873F62B29}">
      <dgm:prSet/>
      <dgm:spPr/>
      <dgm:t>
        <a:bodyPr/>
        <a:lstStyle/>
        <a:p>
          <a:endParaRPr lang="en-US"/>
        </a:p>
      </dgm:t>
    </dgm:pt>
    <dgm:pt modelId="{88F5D3C4-07D3-4510-8B03-325A7231B70A}">
      <dgm:prSet phldrT="[Text]"/>
      <dgm:spPr/>
      <dgm:t>
        <a:bodyPr/>
        <a:lstStyle/>
        <a:p>
          <a:r>
            <a:rPr lang="en-US" dirty="0" smtClean="0"/>
            <a:t>Machine Learning</a:t>
          </a:r>
          <a:endParaRPr lang="en-US" dirty="0"/>
        </a:p>
      </dgm:t>
    </dgm:pt>
    <dgm:pt modelId="{261FDADC-B372-4D16-A4EA-3C8D9332AFA8}" type="parTrans" cxnId="{A4DF8AF5-60E8-4FE1-BF7A-E4E10E13E2D2}">
      <dgm:prSet/>
      <dgm:spPr/>
      <dgm:t>
        <a:bodyPr/>
        <a:lstStyle/>
        <a:p>
          <a:endParaRPr lang="en-US"/>
        </a:p>
      </dgm:t>
    </dgm:pt>
    <dgm:pt modelId="{EC64B5F2-6FC8-431C-9B8B-47C177253377}" type="sibTrans" cxnId="{A4DF8AF5-60E8-4FE1-BF7A-E4E10E13E2D2}">
      <dgm:prSet/>
      <dgm:spPr/>
      <dgm:t>
        <a:bodyPr/>
        <a:lstStyle/>
        <a:p>
          <a:endParaRPr lang="en-US"/>
        </a:p>
      </dgm:t>
    </dgm:pt>
    <dgm:pt modelId="{6380F2B6-E1DB-4FCE-8A69-65CAEF0C9BC5}" type="pres">
      <dgm:prSet presAssocID="{1DC07205-FF94-448F-841A-40256B6B0AA8}" presName="CompostProcess" presStyleCnt="0">
        <dgm:presLayoutVars>
          <dgm:dir/>
          <dgm:resizeHandles val="exact"/>
        </dgm:presLayoutVars>
      </dgm:prSet>
      <dgm:spPr/>
    </dgm:pt>
    <dgm:pt modelId="{B5D6766C-2B5D-4D09-90DF-385E36E6C57D}" type="pres">
      <dgm:prSet presAssocID="{1DC07205-FF94-448F-841A-40256B6B0AA8}" presName="arrow" presStyleLbl="bgShp" presStyleIdx="0" presStyleCnt="1"/>
      <dgm:spPr/>
    </dgm:pt>
    <dgm:pt modelId="{81AD5117-64C7-4E5B-9C8D-013E26A482A1}" type="pres">
      <dgm:prSet presAssocID="{1DC07205-FF94-448F-841A-40256B6B0AA8}" presName="linearProcess" presStyleCnt="0"/>
      <dgm:spPr/>
    </dgm:pt>
    <dgm:pt modelId="{9504D84C-DEDF-4E9D-BE73-5643666E8F40}" type="pres">
      <dgm:prSet presAssocID="{529D409C-BE70-4041-9507-3E8E5F75C354}" presName="textNode" presStyleLbl="node1" presStyleIdx="0" presStyleCnt="2">
        <dgm:presLayoutVars>
          <dgm:bulletEnabled val="1"/>
        </dgm:presLayoutVars>
      </dgm:prSet>
      <dgm:spPr/>
      <dgm:t>
        <a:bodyPr/>
        <a:lstStyle/>
        <a:p>
          <a:endParaRPr lang="en-US"/>
        </a:p>
      </dgm:t>
    </dgm:pt>
    <dgm:pt modelId="{44EE2698-A758-4AFE-8651-A01FD31C3655}" type="pres">
      <dgm:prSet presAssocID="{C82912E7-D448-4211-8E15-53B6711DA703}" presName="sibTrans" presStyleCnt="0"/>
      <dgm:spPr/>
    </dgm:pt>
    <dgm:pt modelId="{BBC9E803-8988-45AA-85F7-D9343FC7AEE5}" type="pres">
      <dgm:prSet presAssocID="{88F5D3C4-07D3-4510-8B03-325A7231B70A}" presName="textNode" presStyleLbl="node1" presStyleIdx="1" presStyleCnt="2">
        <dgm:presLayoutVars>
          <dgm:bulletEnabled val="1"/>
        </dgm:presLayoutVars>
      </dgm:prSet>
      <dgm:spPr/>
      <dgm:t>
        <a:bodyPr/>
        <a:lstStyle/>
        <a:p>
          <a:endParaRPr lang="en-US"/>
        </a:p>
      </dgm:t>
    </dgm:pt>
  </dgm:ptLst>
  <dgm:cxnLst>
    <dgm:cxn modelId="{A4DF8AF5-60E8-4FE1-BF7A-E4E10E13E2D2}" srcId="{1DC07205-FF94-448F-841A-40256B6B0AA8}" destId="{88F5D3C4-07D3-4510-8B03-325A7231B70A}" srcOrd="1" destOrd="0" parTransId="{261FDADC-B372-4D16-A4EA-3C8D9332AFA8}" sibTransId="{EC64B5F2-6FC8-431C-9B8B-47C177253377}"/>
    <dgm:cxn modelId="{4EFB2148-B1D7-4ED9-A90A-15A2ED0E2198}" type="presOf" srcId="{1DC07205-FF94-448F-841A-40256B6B0AA8}" destId="{6380F2B6-E1DB-4FCE-8A69-65CAEF0C9BC5}" srcOrd="0" destOrd="0" presId="urn:microsoft.com/office/officeart/2005/8/layout/hProcess9"/>
    <dgm:cxn modelId="{8BF114CE-ED43-466A-8A2A-CE5D80242475}" type="presOf" srcId="{88F5D3C4-07D3-4510-8B03-325A7231B70A}" destId="{BBC9E803-8988-45AA-85F7-D9343FC7AEE5}" srcOrd="0" destOrd="0" presId="urn:microsoft.com/office/officeart/2005/8/layout/hProcess9"/>
    <dgm:cxn modelId="{117EF97F-4F93-4626-8390-B82873F62B29}" srcId="{1DC07205-FF94-448F-841A-40256B6B0AA8}" destId="{529D409C-BE70-4041-9507-3E8E5F75C354}" srcOrd="0" destOrd="0" parTransId="{AE72D484-9259-4330-8580-20F43B45D471}" sibTransId="{C82912E7-D448-4211-8E15-53B6711DA703}"/>
    <dgm:cxn modelId="{2E24D0B7-835B-472A-9287-492DE01943A0}" type="presOf" srcId="{529D409C-BE70-4041-9507-3E8E5F75C354}" destId="{9504D84C-DEDF-4E9D-BE73-5643666E8F40}" srcOrd="0" destOrd="0" presId="urn:microsoft.com/office/officeart/2005/8/layout/hProcess9"/>
    <dgm:cxn modelId="{C51B53E7-79CC-4EF3-9CC9-5D8D2B2345F4}" type="presParOf" srcId="{6380F2B6-E1DB-4FCE-8A69-65CAEF0C9BC5}" destId="{B5D6766C-2B5D-4D09-90DF-385E36E6C57D}" srcOrd="0" destOrd="0" presId="urn:microsoft.com/office/officeart/2005/8/layout/hProcess9"/>
    <dgm:cxn modelId="{2ECD47BB-808C-4BCE-A3E1-BF5816CDDB76}" type="presParOf" srcId="{6380F2B6-E1DB-4FCE-8A69-65CAEF0C9BC5}" destId="{81AD5117-64C7-4E5B-9C8D-013E26A482A1}" srcOrd="1" destOrd="0" presId="urn:microsoft.com/office/officeart/2005/8/layout/hProcess9"/>
    <dgm:cxn modelId="{8638AF9F-9047-4010-B1EC-E059F09F5DA5}" type="presParOf" srcId="{81AD5117-64C7-4E5B-9C8D-013E26A482A1}" destId="{9504D84C-DEDF-4E9D-BE73-5643666E8F40}" srcOrd="0" destOrd="0" presId="urn:microsoft.com/office/officeart/2005/8/layout/hProcess9"/>
    <dgm:cxn modelId="{1A96DD7E-ABB6-4ADE-9736-44638EEB5B22}" type="presParOf" srcId="{81AD5117-64C7-4E5B-9C8D-013E26A482A1}" destId="{44EE2698-A758-4AFE-8651-A01FD31C3655}" srcOrd="1" destOrd="0" presId="urn:microsoft.com/office/officeart/2005/8/layout/hProcess9"/>
    <dgm:cxn modelId="{DF605D1D-B175-45DF-BCF6-AEFED03E77E1}" type="presParOf" srcId="{81AD5117-64C7-4E5B-9C8D-013E26A482A1}" destId="{BBC9E803-8988-45AA-85F7-D9343FC7AEE5}" srcOrd="2"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HDFS</a:t>
          </a:r>
          <a:endParaRPr lang="en-US" sz="1200" b="0" i="0" dirty="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B0B53D9-195C-E342-956D-F618DF62762F}">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Spark</a:t>
          </a:r>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ive</a:t>
          </a:r>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Catalog</a:t>
          </a:r>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Pig</a:t>
          </a:r>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MapReduce</a:t>
          </a:r>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9495A53-B1A4-E54A-BDED-90569695457E}" srcId="{FC8E4F8A-67E5-2045-9D5E-3FC794334922}" destId="{D459B528-A2E8-9D40-B9F3-A1953FDF22D7}" srcOrd="5" destOrd="0" parTransId="{D4349E50-BD21-A443-89BC-5D8432335ADC}" sibTransId="{1EB380D0-5C93-FD4B-AEC0-2890B45444BD}"/>
    <dgm:cxn modelId="{12454DCC-D23D-4D44-AA81-F5C6D4E3D594}" type="presOf" srcId="{FB0B53D9-195C-E342-956D-F618DF62762F}" destId="{027D962D-2EA5-464F-827D-5FE1D8B618A1}" srcOrd="0" destOrd="0" presId="urn:microsoft.com/office/officeart/2005/8/layout/hierarchy4"/>
    <dgm:cxn modelId="{B26005F5-C861-4C71-9B8F-E2DA6F7BBD8C}" type="presOf" srcId="{B791BFEE-811F-614D-9E2F-A9E3C1B09519}" destId="{71EFDBA4-FD34-C04D-A343-12FFAAA2219C}"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A2EB7FA0-DC65-4356-BEBB-30BB619374FB}" type="presOf" srcId="{FC8E4F8A-67E5-2045-9D5E-3FC794334922}" destId="{07F2754C-E745-394E-B448-01F146E9A493}" srcOrd="0" destOrd="0" presId="urn:microsoft.com/office/officeart/2005/8/layout/hierarchy4"/>
    <dgm:cxn modelId="{167FA3BD-0814-4736-B836-727079F39170}" type="presOf" srcId="{D459B528-A2E8-9D40-B9F3-A1953FDF22D7}" destId="{C52D1841-36E2-9D4B-BC9F-A24074B8AAD3}" srcOrd="0" destOrd="0" presId="urn:microsoft.com/office/officeart/2005/8/layout/hierarchy4"/>
    <dgm:cxn modelId="{4C6C3EEE-0281-4F4D-9AD4-CB194E9D0B7D}" type="presOf" srcId="{2F9F089B-6CDE-3644-A71A-A5129F9689C7}" destId="{FF7A9D10-FC52-814C-BC88-3CB8D987E563}" srcOrd="0" destOrd="0" presId="urn:microsoft.com/office/officeart/2005/8/layout/hierarchy4"/>
    <dgm:cxn modelId="{EBE28BA0-EFBE-6E4F-B4BB-288E02289E0D}" srcId="{FC8E4F8A-67E5-2045-9D5E-3FC794334922}" destId="{B791BFEE-811F-614D-9E2F-A9E3C1B09519}" srcOrd="4" destOrd="0" parTransId="{61DC409F-BF87-F247-A67F-21096AD9CFD3}" sibTransId="{585B9CB7-8FB4-D94F-979B-A2F34A126751}"/>
    <dgm:cxn modelId="{B5D54241-2C43-4BB3-AF3E-118E3593F8CA}" type="presOf" srcId="{E3485FBA-95F2-054A-AEC2-229E0DA3A15E}" destId="{A97B6EE3-C913-9249-9BB0-F869F56702F9}"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1" destOrd="0" parTransId="{12E1C44F-7698-124D-8B08-8F60057B054D}" sibTransId="{2AC2EF0C-2EE3-6640-A796-8994BF99D979}"/>
    <dgm:cxn modelId="{243BA6A4-4887-4EC3-BA39-1519B768805F}" type="presOf" srcId="{027B2473-40A2-3B43-B43F-38DEED3C23F6}" destId="{D73A2411-5BF3-5048-8FDD-2AA7C8DF38E0}" srcOrd="0" destOrd="0" presId="urn:microsoft.com/office/officeart/2005/8/layout/hierarchy4"/>
    <dgm:cxn modelId="{E32A4819-DA2E-2F47-A2F5-682D672333AE}" srcId="{FC8E4F8A-67E5-2045-9D5E-3FC794334922}" destId="{027B2473-40A2-3B43-B43F-38DEED3C23F6}" srcOrd="3" destOrd="0" parTransId="{BA77F311-3B04-B247-B68A-70B04552A3DE}" sibTransId="{2091BAEF-6F31-D84F-97CC-2ECF5B035F26}"/>
    <dgm:cxn modelId="{B73D4AE1-A2C0-43A2-A47E-A648641E3E18}" type="presParOf" srcId="{07F2754C-E745-394E-B448-01F146E9A493}" destId="{72BF7568-AE61-D44D-B503-BA1B66CA9BB1}" srcOrd="0" destOrd="0" presId="urn:microsoft.com/office/officeart/2005/8/layout/hierarchy4"/>
    <dgm:cxn modelId="{D603BE4C-9880-4B43-8070-F477BEE2D20B}" type="presParOf" srcId="{72BF7568-AE61-D44D-B503-BA1B66CA9BB1}" destId="{FF7A9D10-FC52-814C-BC88-3CB8D987E563}" srcOrd="0" destOrd="0" presId="urn:microsoft.com/office/officeart/2005/8/layout/hierarchy4"/>
    <dgm:cxn modelId="{95088411-B060-45B4-B6DC-851E85E20860}" type="presParOf" srcId="{72BF7568-AE61-D44D-B503-BA1B66CA9BB1}" destId="{45E330AC-B148-B345-9481-A07AB4710ACD}" srcOrd="1" destOrd="0" presId="urn:microsoft.com/office/officeart/2005/8/layout/hierarchy4"/>
    <dgm:cxn modelId="{8AD4AAB4-4C50-4A93-838B-03EEABDA8128}" type="presParOf" srcId="{07F2754C-E745-394E-B448-01F146E9A493}" destId="{18C604F1-C22A-4E48-89B9-E1871522632F}" srcOrd="1" destOrd="0" presId="urn:microsoft.com/office/officeart/2005/8/layout/hierarchy4"/>
    <dgm:cxn modelId="{E62CB7D2-B645-42EE-9050-897EAF962579}" type="presParOf" srcId="{07F2754C-E745-394E-B448-01F146E9A493}" destId="{4F740ECE-EE3A-3C41-991C-EA6F60703047}" srcOrd="2" destOrd="0" presId="urn:microsoft.com/office/officeart/2005/8/layout/hierarchy4"/>
    <dgm:cxn modelId="{D51358E4-FB0F-415D-8EB5-DD6E02F0F5D5}" type="presParOf" srcId="{4F740ECE-EE3A-3C41-991C-EA6F60703047}" destId="{A97B6EE3-C913-9249-9BB0-F869F56702F9}" srcOrd="0" destOrd="0" presId="urn:microsoft.com/office/officeart/2005/8/layout/hierarchy4"/>
    <dgm:cxn modelId="{477D939C-CC15-4AE0-A4A1-B5E5DD3664F7}" type="presParOf" srcId="{4F740ECE-EE3A-3C41-991C-EA6F60703047}" destId="{576DEBAB-9492-7148-B255-B69B39AEEFD5}" srcOrd="1" destOrd="0" presId="urn:microsoft.com/office/officeart/2005/8/layout/hierarchy4"/>
    <dgm:cxn modelId="{3FC89394-23C9-49F0-A4DF-33ACD95B345F}" type="presParOf" srcId="{07F2754C-E745-394E-B448-01F146E9A493}" destId="{3E3E1513-051B-D747-9578-5157F0BD2606}" srcOrd="3" destOrd="0" presId="urn:microsoft.com/office/officeart/2005/8/layout/hierarchy4"/>
    <dgm:cxn modelId="{777E7376-0A92-4231-BC49-D15872A0A47D}" type="presParOf" srcId="{07F2754C-E745-394E-B448-01F146E9A493}" destId="{2349EFCC-D6EF-F14F-8F03-59B42D87120C}" srcOrd="4" destOrd="0" presId="urn:microsoft.com/office/officeart/2005/8/layout/hierarchy4"/>
    <dgm:cxn modelId="{79F15683-8B14-485B-9565-5C4CDDB66B63}" type="presParOf" srcId="{2349EFCC-D6EF-F14F-8F03-59B42D87120C}" destId="{027D962D-2EA5-464F-827D-5FE1D8B618A1}" srcOrd="0" destOrd="0" presId="urn:microsoft.com/office/officeart/2005/8/layout/hierarchy4"/>
    <dgm:cxn modelId="{CD612714-7CBD-4B48-AAFD-C80B81EA9F0C}" type="presParOf" srcId="{2349EFCC-D6EF-F14F-8F03-59B42D87120C}" destId="{5D52124E-E701-A14E-978B-675C86D7D941}" srcOrd="1" destOrd="0" presId="urn:microsoft.com/office/officeart/2005/8/layout/hierarchy4"/>
    <dgm:cxn modelId="{E76420FB-BB5A-4F7B-ACD3-64405826D3DB}" type="presParOf" srcId="{07F2754C-E745-394E-B448-01F146E9A493}" destId="{93302620-31AB-4744-93E7-EAF6C7A77D6E}" srcOrd="5" destOrd="0" presId="urn:microsoft.com/office/officeart/2005/8/layout/hierarchy4"/>
    <dgm:cxn modelId="{5F5555B1-4591-471E-969E-316C6E58F8B0}" type="presParOf" srcId="{07F2754C-E745-394E-B448-01F146E9A493}" destId="{79A592FD-AF06-9642-8007-09D471248D33}" srcOrd="6" destOrd="0" presId="urn:microsoft.com/office/officeart/2005/8/layout/hierarchy4"/>
    <dgm:cxn modelId="{545EE689-2245-4E76-B508-35453CC714C9}" type="presParOf" srcId="{79A592FD-AF06-9642-8007-09D471248D33}" destId="{D73A2411-5BF3-5048-8FDD-2AA7C8DF38E0}" srcOrd="0" destOrd="0" presId="urn:microsoft.com/office/officeart/2005/8/layout/hierarchy4"/>
    <dgm:cxn modelId="{EAC48595-5659-4D60-BFE5-EEEFFE2FDE36}" type="presParOf" srcId="{79A592FD-AF06-9642-8007-09D471248D33}" destId="{A5B95F44-F627-F14E-A903-667E3E942B16}" srcOrd="1" destOrd="0" presId="urn:microsoft.com/office/officeart/2005/8/layout/hierarchy4"/>
    <dgm:cxn modelId="{65C28B03-8DD2-4215-ADB3-C409ABB51C74}" type="presParOf" srcId="{07F2754C-E745-394E-B448-01F146E9A493}" destId="{236AC1D0-3375-824D-8FDC-0F1798C4046E}" srcOrd="7" destOrd="0" presId="urn:microsoft.com/office/officeart/2005/8/layout/hierarchy4"/>
    <dgm:cxn modelId="{80F7BC17-0D61-4661-9EB7-FC5FE3B95295}" type="presParOf" srcId="{07F2754C-E745-394E-B448-01F146E9A493}" destId="{3E9A3401-CDF7-8E46-87B0-A71177856B62}" srcOrd="8" destOrd="0" presId="urn:microsoft.com/office/officeart/2005/8/layout/hierarchy4"/>
    <dgm:cxn modelId="{13E46F3E-5B38-4B5B-97A8-C87799D4DF43}" type="presParOf" srcId="{3E9A3401-CDF7-8E46-87B0-A71177856B62}" destId="{71EFDBA4-FD34-C04D-A343-12FFAAA2219C}" srcOrd="0" destOrd="0" presId="urn:microsoft.com/office/officeart/2005/8/layout/hierarchy4"/>
    <dgm:cxn modelId="{7D7DAA5C-4724-42BC-939A-7FF29D0283E5}" type="presParOf" srcId="{3E9A3401-CDF7-8E46-87B0-A71177856B62}" destId="{500AD90E-E799-0C4E-910B-A97A68C40A9E}" srcOrd="1" destOrd="0" presId="urn:microsoft.com/office/officeart/2005/8/layout/hierarchy4"/>
    <dgm:cxn modelId="{9904A05B-784A-4CD7-BFFA-BDC5BBFD9EA3}" type="presParOf" srcId="{07F2754C-E745-394E-B448-01F146E9A493}" destId="{F70D16F5-85BA-F245-851A-4A66C7DF421D}" srcOrd="9" destOrd="0" presId="urn:microsoft.com/office/officeart/2005/8/layout/hierarchy4"/>
    <dgm:cxn modelId="{7844E6B5-ED4A-4218-9C63-63CEF0DAA8C3}" type="presParOf" srcId="{07F2754C-E745-394E-B448-01F146E9A493}" destId="{6B050408-9C32-724B-B50B-C759B83C7008}" srcOrd="10" destOrd="0" presId="urn:microsoft.com/office/officeart/2005/8/layout/hierarchy4"/>
    <dgm:cxn modelId="{F0CCEA08-2E0B-45DC-9216-6CD9A73CDDE7}" type="presParOf" srcId="{6B050408-9C32-724B-B50B-C759B83C7008}" destId="{C52D1841-36E2-9D4B-BC9F-A24074B8AAD3}" srcOrd="0" destOrd="0" presId="urn:microsoft.com/office/officeart/2005/8/layout/hierarchy4"/>
    <dgm:cxn modelId="{B8E7E0BB-DECA-42C3-A2C0-8728B4BB3862}"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YARN</a:t>
          </a:r>
          <a:endParaRPr lang="en-US" sz="1200" b="0" i="0" dirty="0">
            <a:latin typeface="Helvetica Neue Thin" charset="0"/>
            <a:ea typeface="Helvetica Neue Thin" charset="0"/>
            <a:cs typeface="Helvetica Neue Thin" charset="0"/>
          </a:endParaRPr>
        </a:p>
      </dgm:t>
    </dgm:pt>
    <dgm:pt modelId="{FC7148B5-AEE4-E04A-B4FB-72A85EF5D940}" type="par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33D93A36-9B60-EC44-9D4A-A7EB8321DFFD}" type="sib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FB0B53D9-195C-E342-956D-F618DF62762F}">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HBase</a:t>
          </a:r>
          <a:endParaRPr lang="en-US" sz="1200" b="0" i="0" dirty="0">
            <a:latin typeface="Helvetica Neue Thin" charset="0"/>
            <a:ea typeface="Helvetica Neue Thin" charset="0"/>
            <a:cs typeface="Helvetica Neue Thin" charset="0"/>
          </a:endParaRPr>
        </a:p>
      </dgm:t>
    </dgm:pt>
    <dgm:pt modelId="{B5CA3A2B-F6F0-1D4F-9108-A123E5BB82B2}" type="par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A0F1DF69-79A4-5A4A-B4FE-EBD450354025}" type="sib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027B2473-40A2-3B43-B43F-38DEED3C23F6}">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Flume</a:t>
          </a:r>
          <a:endParaRPr lang="en-US" sz="1200" b="0" i="0" dirty="0">
            <a:latin typeface="Helvetica Neue Thin" charset="0"/>
            <a:ea typeface="Helvetica Neue Thin" charset="0"/>
            <a:cs typeface="Helvetica Neue Thin" charset="0"/>
          </a:endParaRPr>
        </a:p>
      </dgm:t>
    </dgm:pt>
    <dgm:pt modelId="{BA77F311-3B04-B247-B68A-70B04552A3DE}" type="par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2091BAEF-6F31-D84F-97CC-2ECF5B035F26}" type="sib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B791BFEE-811F-614D-9E2F-A9E3C1B09519}">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qoop</a:t>
          </a:r>
          <a:endParaRPr lang="en-US" sz="1200" b="0" i="0" dirty="0">
            <a:latin typeface="Helvetica Neue Thin" charset="0"/>
            <a:ea typeface="Helvetica Neue Thin" charset="0"/>
            <a:cs typeface="Helvetica Neue Thin" charset="0"/>
          </a:endParaRPr>
        </a:p>
      </dgm:t>
    </dgm:pt>
    <dgm:pt modelId="{61DC409F-BF87-F247-A67F-21096AD9CFD3}" type="par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585B9CB7-8FB4-D94F-979B-A2F34A126751}" type="sib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D459B528-A2E8-9D40-B9F3-A1953FDF22D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olr / Lucene</a:t>
          </a:r>
          <a:endParaRPr lang="en-US" sz="1200" b="0" i="0" dirty="0">
            <a:latin typeface="Helvetica Neue Thin" charset="0"/>
            <a:ea typeface="Helvetica Neue Thin" charset="0"/>
            <a:cs typeface="Helvetica Neue Thin" charset="0"/>
          </a:endParaRPr>
        </a:p>
      </dgm:t>
    </dgm:pt>
    <dgm:pt modelId="{D4349E50-BD21-A443-89BC-5D8432335ADC}" type="par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1EB380D0-5C93-FD4B-AEC0-2890B45444BD}" type="sib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E3485FBA-95F2-054A-AEC2-229E0DA3A15E}">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Ambari</a:t>
          </a:r>
          <a:endParaRPr lang="en-US" sz="1200" b="0" i="0" dirty="0">
            <a:latin typeface="Helvetica Neue Thin" charset="0"/>
            <a:ea typeface="Helvetica Neue Thin" charset="0"/>
            <a:cs typeface="Helvetica Neue Thin" charset="0"/>
          </a:endParaRPr>
        </a:p>
      </dgm:t>
    </dgm:pt>
    <dgm:pt modelId="{12E1C44F-7698-124D-8B08-8F60057B054D}" type="par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2AC2EF0C-2EE3-6640-A796-8994BF99D979}" type="sib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CB8E08F-04FB-4A95-9845-81C695735FE0}" type="presOf" srcId="{027B2473-40A2-3B43-B43F-38DEED3C23F6}" destId="{D73A2411-5BF3-5048-8FDD-2AA7C8DF38E0}"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0F5D01E6-A9A2-450F-B009-3476090CFD6B}" type="presOf" srcId="{D459B528-A2E8-9D40-B9F3-A1953FDF22D7}" destId="{C52D1841-36E2-9D4B-BC9F-A24074B8AAD3}" srcOrd="0" destOrd="0" presId="urn:microsoft.com/office/officeart/2005/8/layout/hierarchy4"/>
    <dgm:cxn modelId="{5FA87170-CD78-49CC-819B-EF369B3FF07A}" type="presOf" srcId="{B791BFEE-811F-614D-9E2F-A9E3C1B09519}" destId="{71EFDBA4-FD34-C04D-A343-12FFAAA2219C}" srcOrd="0" destOrd="0" presId="urn:microsoft.com/office/officeart/2005/8/layout/hierarchy4"/>
    <dgm:cxn modelId="{A8201B80-362E-48F3-904F-DDD3977850A7}" type="presOf" srcId="{2F9F089B-6CDE-3644-A71A-A5129F9689C7}" destId="{FF7A9D10-FC52-814C-BC88-3CB8D987E563}"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EBE28BA0-EFBE-6E4F-B4BB-288E02289E0D}" srcId="{FC8E4F8A-67E5-2045-9D5E-3FC794334922}" destId="{B791BFEE-811F-614D-9E2F-A9E3C1B09519}" srcOrd="4" destOrd="0" parTransId="{61DC409F-BF87-F247-A67F-21096AD9CFD3}" sibTransId="{585B9CB7-8FB4-D94F-979B-A2F34A126751}"/>
    <dgm:cxn modelId="{7299BF99-1417-2849-849C-D1CD85A7418A}" srcId="{FC8E4F8A-67E5-2045-9D5E-3FC794334922}" destId="{2F9F089B-6CDE-3644-A71A-A5129F9689C7}" srcOrd="0" destOrd="0" parTransId="{FC7148B5-AEE4-E04A-B4FB-72A85EF5D940}" sibTransId="{33D93A36-9B60-EC44-9D4A-A7EB8321DFFD}"/>
    <dgm:cxn modelId="{7D3F3B24-4575-4781-9834-A1BF1A201E63}" type="presOf" srcId="{E3485FBA-95F2-054A-AEC2-229E0DA3A15E}" destId="{A97B6EE3-C913-9249-9BB0-F869F56702F9}" srcOrd="0" destOrd="0" presId="urn:microsoft.com/office/officeart/2005/8/layout/hierarchy4"/>
    <dgm:cxn modelId="{49B7E786-0AA7-4775-840E-6CC6F5B257DE}" type="presOf" srcId="{FB0B53D9-195C-E342-956D-F618DF62762F}" destId="{027D962D-2EA5-464F-827D-5FE1D8B618A1}" srcOrd="0" destOrd="0" presId="urn:microsoft.com/office/officeart/2005/8/layout/hierarchy4"/>
    <dgm:cxn modelId="{80DFBD48-81B4-4E7F-9C98-F05343128791}" type="presOf" srcId="{FC8E4F8A-67E5-2045-9D5E-3FC794334922}" destId="{07F2754C-E745-394E-B448-01F146E9A493}" srcOrd="0" destOrd="0" presId="urn:microsoft.com/office/officeart/2005/8/layout/hierarchy4"/>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FD401D56-AE8A-477F-8A4C-B46A102530E3}" type="presParOf" srcId="{07F2754C-E745-394E-B448-01F146E9A493}" destId="{72BF7568-AE61-D44D-B503-BA1B66CA9BB1}" srcOrd="0" destOrd="0" presId="urn:microsoft.com/office/officeart/2005/8/layout/hierarchy4"/>
    <dgm:cxn modelId="{490216C5-2CE0-4646-B4ED-5D2666758E0C}" type="presParOf" srcId="{72BF7568-AE61-D44D-B503-BA1B66CA9BB1}" destId="{FF7A9D10-FC52-814C-BC88-3CB8D987E563}" srcOrd="0" destOrd="0" presId="urn:microsoft.com/office/officeart/2005/8/layout/hierarchy4"/>
    <dgm:cxn modelId="{15A30934-1593-4EC5-B5B7-F697A4F81CFE}" type="presParOf" srcId="{72BF7568-AE61-D44D-B503-BA1B66CA9BB1}" destId="{45E330AC-B148-B345-9481-A07AB4710ACD}" srcOrd="1" destOrd="0" presId="urn:microsoft.com/office/officeart/2005/8/layout/hierarchy4"/>
    <dgm:cxn modelId="{9A45203D-6D6B-418B-98D7-1E6F1155CCE5}" type="presParOf" srcId="{07F2754C-E745-394E-B448-01F146E9A493}" destId="{18C604F1-C22A-4E48-89B9-E1871522632F}" srcOrd="1" destOrd="0" presId="urn:microsoft.com/office/officeart/2005/8/layout/hierarchy4"/>
    <dgm:cxn modelId="{BBBD0F27-F904-466A-A5CC-C35A820CED01}" type="presParOf" srcId="{07F2754C-E745-394E-B448-01F146E9A493}" destId="{4F740ECE-EE3A-3C41-991C-EA6F60703047}" srcOrd="2" destOrd="0" presId="urn:microsoft.com/office/officeart/2005/8/layout/hierarchy4"/>
    <dgm:cxn modelId="{3D6EB897-6ED9-4565-B812-F3E82312211D}" type="presParOf" srcId="{4F740ECE-EE3A-3C41-991C-EA6F60703047}" destId="{A97B6EE3-C913-9249-9BB0-F869F56702F9}" srcOrd="0" destOrd="0" presId="urn:microsoft.com/office/officeart/2005/8/layout/hierarchy4"/>
    <dgm:cxn modelId="{6A0C2A28-832B-49A2-B45E-EB0F034B2373}" type="presParOf" srcId="{4F740ECE-EE3A-3C41-991C-EA6F60703047}" destId="{576DEBAB-9492-7148-B255-B69B39AEEFD5}" srcOrd="1" destOrd="0" presId="urn:microsoft.com/office/officeart/2005/8/layout/hierarchy4"/>
    <dgm:cxn modelId="{2C638D3B-41E8-453B-A2CF-1BF048E2D125}" type="presParOf" srcId="{07F2754C-E745-394E-B448-01F146E9A493}" destId="{3E3E1513-051B-D747-9578-5157F0BD2606}" srcOrd="3" destOrd="0" presId="urn:microsoft.com/office/officeart/2005/8/layout/hierarchy4"/>
    <dgm:cxn modelId="{CFBD86CE-FFFF-4765-91D5-F59E2DBEB2BC}" type="presParOf" srcId="{07F2754C-E745-394E-B448-01F146E9A493}" destId="{2349EFCC-D6EF-F14F-8F03-59B42D87120C}" srcOrd="4" destOrd="0" presId="urn:microsoft.com/office/officeart/2005/8/layout/hierarchy4"/>
    <dgm:cxn modelId="{6E76B7DF-EAB4-450F-84D1-868B749035BB}" type="presParOf" srcId="{2349EFCC-D6EF-F14F-8F03-59B42D87120C}" destId="{027D962D-2EA5-464F-827D-5FE1D8B618A1}" srcOrd="0" destOrd="0" presId="urn:microsoft.com/office/officeart/2005/8/layout/hierarchy4"/>
    <dgm:cxn modelId="{47F0556D-D7EE-462E-8CF7-E2F6D7AE3377}" type="presParOf" srcId="{2349EFCC-D6EF-F14F-8F03-59B42D87120C}" destId="{5D52124E-E701-A14E-978B-675C86D7D941}" srcOrd="1" destOrd="0" presId="urn:microsoft.com/office/officeart/2005/8/layout/hierarchy4"/>
    <dgm:cxn modelId="{C7324E9D-4912-41A6-9644-6F4D80E5086C}" type="presParOf" srcId="{07F2754C-E745-394E-B448-01F146E9A493}" destId="{93302620-31AB-4744-93E7-EAF6C7A77D6E}" srcOrd="5" destOrd="0" presId="urn:microsoft.com/office/officeart/2005/8/layout/hierarchy4"/>
    <dgm:cxn modelId="{7F61FD80-D0EF-4B89-90D0-898739EBF0E6}" type="presParOf" srcId="{07F2754C-E745-394E-B448-01F146E9A493}" destId="{79A592FD-AF06-9642-8007-09D471248D33}" srcOrd="6" destOrd="0" presId="urn:microsoft.com/office/officeart/2005/8/layout/hierarchy4"/>
    <dgm:cxn modelId="{FCF51589-A0DD-4F86-8D04-DCBF205FFF1B}" type="presParOf" srcId="{79A592FD-AF06-9642-8007-09D471248D33}" destId="{D73A2411-5BF3-5048-8FDD-2AA7C8DF38E0}" srcOrd="0" destOrd="0" presId="urn:microsoft.com/office/officeart/2005/8/layout/hierarchy4"/>
    <dgm:cxn modelId="{25F3D89D-2710-4772-B2E1-BD9DB8AFE648}" type="presParOf" srcId="{79A592FD-AF06-9642-8007-09D471248D33}" destId="{A5B95F44-F627-F14E-A903-667E3E942B16}" srcOrd="1" destOrd="0" presId="urn:microsoft.com/office/officeart/2005/8/layout/hierarchy4"/>
    <dgm:cxn modelId="{073425E2-37E1-4E8E-AAC0-C62117716B9A}" type="presParOf" srcId="{07F2754C-E745-394E-B448-01F146E9A493}" destId="{236AC1D0-3375-824D-8FDC-0F1798C4046E}" srcOrd="7" destOrd="0" presId="urn:microsoft.com/office/officeart/2005/8/layout/hierarchy4"/>
    <dgm:cxn modelId="{2E4E4D50-6ED3-4B39-8A3C-11B6550CAB27}" type="presParOf" srcId="{07F2754C-E745-394E-B448-01F146E9A493}" destId="{3E9A3401-CDF7-8E46-87B0-A71177856B62}" srcOrd="8" destOrd="0" presId="urn:microsoft.com/office/officeart/2005/8/layout/hierarchy4"/>
    <dgm:cxn modelId="{E3418A71-1624-4E07-A0D9-7C135A44DB28}" type="presParOf" srcId="{3E9A3401-CDF7-8E46-87B0-A71177856B62}" destId="{71EFDBA4-FD34-C04D-A343-12FFAAA2219C}" srcOrd="0" destOrd="0" presId="urn:microsoft.com/office/officeart/2005/8/layout/hierarchy4"/>
    <dgm:cxn modelId="{3CCF6CDD-4F4A-4FAE-A003-C7B33991FDCB}" type="presParOf" srcId="{3E9A3401-CDF7-8E46-87B0-A71177856B62}" destId="{500AD90E-E799-0C4E-910B-A97A68C40A9E}" srcOrd="1" destOrd="0" presId="urn:microsoft.com/office/officeart/2005/8/layout/hierarchy4"/>
    <dgm:cxn modelId="{CAF4D5C0-9433-49FF-BF9B-509ABD165156}" type="presParOf" srcId="{07F2754C-E745-394E-B448-01F146E9A493}" destId="{F70D16F5-85BA-F245-851A-4A66C7DF421D}" srcOrd="9" destOrd="0" presId="urn:microsoft.com/office/officeart/2005/8/layout/hierarchy4"/>
    <dgm:cxn modelId="{AEB4E98F-4729-4A44-878B-46AB6FDC89CF}" type="presParOf" srcId="{07F2754C-E745-394E-B448-01F146E9A493}" destId="{6B050408-9C32-724B-B50B-C759B83C7008}" srcOrd="10" destOrd="0" presId="urn:microsoft.com/office/officeart/2005/8/layout/hierarchy4"/>
    <dgm:cxn modelId="{CCB977C4-6C5A-416E-9CB6-FCDE952A2C8B}" type="presParOf" srcId="{6B050408-9C32-724B-B50B-C759B83C7008}" destId="{C52D1841-36E2-9D4B-BC9F-A24074B8AAD3}" srcOrd="0" destOrd="0" presId="urn:microsoft.com/office/officeart/2005/8/layout/hierarchy4"/>
    <dgm:cxn modelId="{91BD622D-348B-4178-9EF8-643485D9F57E}"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HDFS</a:t>
          </a:r>
          <a:endParaRPr lang="en-US" sz="1200" b="0" i="0" dirty="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B0B53D9-195C-E342-956D-F618DF62762F}">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Spark</a:t>
          </a:r>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ive</a:t>
          </a:r>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Catalog</a:t>
          </a:r>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Pig</a:t>
          </a:r>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MapReduce</a:t>
          </a:r>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A10B8861-7AEC-496E-A62B-7DBE3E261244}" type="presOf" srcId="{2F9F089B-6CDE-3644-A71A-A5129F9689C7}" destId="{FF7A9D10-FC52-814C-BC88-3CB8D987E563}" srcOrd="0" destOrd="0" presId="urn:microsoft.com/office/officeart/2005/8/layout/hierarchy4"/>
    <dgm:cxn modelId="{C80023A7-A479-47F3-BC37-1F7A2FEBE2EC}" type="presOf" srcId="{E3485FBA-95F2-054A-AEC2-229E0DA3A15E}" destId="{A97B6EE3-C913-9249-9BB0-F869F56702F9}" srcOrd="0" destOrd="0" presId="urn:microsoft.com/office/officeart/2005/8/layout/hierarchy4"/>
    <dgm:cxn modelId="{118D3293-EBED-41CA-8C9C-66E436AAE4CC}" type="presOf" srcId="{FB0B53D9-195C-E342-956D-F618DF62762F}" destId="{027D962D-2EA5-464F-827D-5FE1D8B618A1}"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114B900E-20AE-45BA-8931-6D04E82B4B1A}" type="presOf" srcId="{FC8E4F8A-67E5-2045-9D5E-3FC794334922}" destId="{07F2754C-E745-394E-B448-01F146E9A493}"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EBE28BA0-EFBE-6E4F-B4BB-288E02289E0D}" srcId="{FC8E4F8A-67E5-2045-9D5E-3FC794334922}" destId="{B791BFEE-811F-614D-9E2F-A9E3C1B09519}" srcOrd="4" destOrd="0" parTransId="{61DC409F-BF87-F247-A67F-21096AD9CFD3}" sibTransId="{585B9CB7-8FB4-D94F-979B-A2F34A126751}"/>
    <dgm:cxn modelId="{C920B7ED-BD68-4BD1-907E-658F863C0B23}" type="presOf" srcId="{B791BFEE-811F-614D-9E2F-A9E3C1B09519}" destId="{71EFDBA4-FD34-C04D-A343-12FFAAA2219C}"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6A9F7813-CB6B-4E4E-B9D2-D6855CA19A24}" type="presOf" srcId="{027B2473-40A2-3B43-B43F-38DEED3C23F6}" destId="{D73A2411-5BF3-5048-8FDD-2AA7C8DF38E0}" srcOrd="0" destOrd="0" presId="urn:microsoft.com/office/officeart/2005/8/layout/hierarchy4"/>
    <dgm:cxn modelId="{0544F1F8-D385-4477-ABEB-A33B0B93C4A5}" type="presOf" srcId="{D459B528-A2E8-9D40-B9F3-A1953FDF22D7}" destId="{C52D1841-36E2-9D4B-BC9F-A24074B8AAD3}" srcOrd="0" destOrd="0" presId="urn:microsoft.com/office/officeart/2005/8/layout/hierarchy4"/>
    <dgm:cxn modelId="{1C216C06-5160-43B0-84F4-218D175D7A8B}" type="presParOf" srcId="{07F2754C-E745-394E-B448-01F146E9A493}" destId="{72BF7568-AE61-D44D-B503-BA1B66CA9BB1}" srcOrd="0" destOrd="0" presId="urn:microsoft.com/office/officeart/2005/8/layout/hierarchy4"/>
    <dgm:cxn modelId="{03420450-2425-4B71-BD8A-7F547A52596C}" type="presParOf" srcId="{72BF7568-AE61-D44D-B503-BA1B66CA9BB1}" destId="{FF7A9D10-FC52-814C-BC88-3CB8D987E563}" srcOrd="0" destOrd="0" presId="urn:microsoft.com/office/officeart/2005/8/layout/hierarchy4"/>
    <dgm:cxn modelId="{D165ADEA-283C-4536-9B2F-AD562C0C2849}" type="presParOf" srcId="{72BF7568-AE61-D44D-B503-BA1B66CA9BB1}" destId="{45E330AC-B148-B345-9481-A07AB4710ACD}" srcOrd="1" destOrd="0" presId="urn:microsoft.com/office/officeart/2005/8/layout/hierarchy4"/>
    <dgm:cxn modelId="{84919BED-5F4C-4474-8B0C-CAECB772ECD7}" type="presParOf" srcId="{07F2754C-E745-394E-B448-01F146E9A493}" destId="{18C604F1-C22A-4E48-89B9-E1871522632F}" srcOrd="1" destOrd="0" presId="urn:microsoft.com/office/officeart/2005/8/layout/hierarchy4"/>
    <dgm:cxn modelId="{5298B8A2-1CFA-4448-A587-D542624F64A6}" type="presParOf" srcId="{07F2754C-E745-394E-B448-01F146E9A493}" destId="{4F740ECE-EE3A-3C41-991C-EA6F60703047}" srcOrd="2" destOrd="0" presId="urn:microsoft.com/office/officeart/2005/8/layout/hierarchy4"/>
    <dgm:cxn modelId="{EB07E79C-F6AE-4851-8C72-15327F4B8919}" type="presParOf" srcId="{4F740ECE-EE3A-3C41-991C-EA6F60703047}" destId="{A97B6EE3-C913-9249-9BB0-F869F56702F9}" srcOrd="0" destOrd="0" presId="urn:microsoft.com/office/officeart/2005/8/layout/hierarchy4"/>
    <dgm:cxn modelId="{BBE96076-2B0D-49DD-816D-E02C9FCF8EB2}" type="presParOf" srcId="{4F740ECE-EE3A-3C41-991C-EA6F60703047}" destId="{576DEBAB-9492-7148-B255-B69B39AEEFD5}" srcOrd="1" destOrd="0" presId="urn:microsoft.com/office/officeart/2005/8/layout/hierarchy4"/>
    <dgm:cxn modelId="{5059FE74-C0F4-49D6-A3B6-72AB563FFF03}" type="presParOf" srcId="{07F2754C-E745-394E-B448-01F146E9A493}" destId="{3E3E1513-051B-D747-9578-5157F0BD2606}" srcOrd="3" destOrd="0" presId="urn:microsoft.com/office/officeart/2005/8/layout/hierarchy4"/>
    <dgm:cxn modelId="{7BC76835-957A-4BF3-A00D-01480A657E00}" type="presParOf" srcId="{07F2754C-E745-394E-B448-01F146E9A493}" destId="{2349EFCC-D6EF-F14F-8F03-59B42D87120C}" srcOrd="4" destOrd="0" presId="urn:microsoft.com/office/officeart/2005/8/layout/hierarchy4"/>
    <dgm:cxn modelId="{6F82C09C-2917-406E-96AA-F2702D6DF8EE}" type="presParOf" srcId="{2349EFCC-D6EF-F14F-8F03-59B42D87120C}" destId="{027D962D-2EA5-464F-827D-5FE1D8B618A1}" srcOrd="0" destOrd="0" presId="urn:microsoft.com/office/officeart/2005/8/layout/hierarchy4"/>
    <dgm:cxn modelId="{EC2791B7-D5DC-4A43-BD45-BD796FBEC73A}" type="presParOf" srcId="{2349EFCC-D6EF-F14F-8F03-59B42D87120C}" destId="{5D52124E-E701-A14E-978B-675C86D7D941}" srcOrd="1" destOrd="0" presId="urn:microsoft.com/office/officeart/2005/8/layout/hierarchy4"/>
    <dgm:cxn modelId="{7C871487-DDF2-4189-89B7-216293D16554}" type="presParOf" srcId="{07F2754C-E745-394E-B448-01F146E9A493}" destId="{93302620-31AB-4744-93E7-EAF6C7A77D6E}" srcOrd="5" destOrd="0" presId="urn:microsoft.com/office/officeart/2005/8/layout/hierarchy4"/>
    <dgm:cxn modelId="{14D344E6-1554-40B9-BB1F-FF346D1DD8B7}" type="presParOf" srcId="{07F2754C-E745-394E-B448-01F146E9A493}" destId="{79A592FD-AF06-9642-8007-09D471248D33}" srcOrd="6" destOrd="0" presId="urn:microsoft.com/office/officeart/2005/8/layout/hierarchy4"/>
    <dgm:cxn modelId="{9DBE2555-DC13-4433-B168-2315027A8050}" type="presParOf" srcId="{79A592FD-AF06-9642-8007-09D471248D33}" destId="{D73A2411-5BF3-5048-8FDD-2AA7C8DF38E0}" srcOrd="0" destOrd="0" presId="urn:microsoft.com/office/officeart/2005/8/layout/hierarchy4"/>
    <dgm:cxn modelId="{ACC98F88-1D19-4932-B9A2-9AC87A59222E}" type="presParOf" srcId="{79A592FD-AF06-9642-8007-09D471248D33}" destId="{A5B95F44-F627-F14E-A903-667E3E942B16}" srcOrd="1" destOrd="0" presId="urn:microsoft.com/office/officeart/2005/8/layout/hierarchy4"/>
    <dgm:cxn modelId="{7438D8A4-71DD-4448-A423-4E2BA7C43195}" type="presParOf" srcId="{07F2754C-E745-394E-B448-01F146E9A493}" destId="{236AC1D0-3375-824D-8FDC-0F1798C4046E}" srcOrd="7" destOrd="0" presId="urn:microsoft.com/office/officeart/2005/8/layout/hierarchy4"/>
    <dgm:cxn modelId="{60C32872-4467-45EF-A8BF-4C4BABB13D5A}" type="presParOf" srcId="{07F2754C-E745-394E-B448-01F146E9A493}" destId="{3E9A3401-CDF7-8E46-87B0-A71177856B62}" srcOrd="8" destOrd="0" presId="urn:microsoft.com/office/officeart/2005/8/layout/hierarchy4"/>
    <dgm:cxn modelId="{499BE0C3-5665-4712-8CCA-C4BDDD5F9D2E}" type="presParOf" srcId="{3E9A3401-CDF7-8E46-87B0-A71177856B62}" destId="{71EFDBA4-FD34-C04D-A343-12FFAAA2219C}" srcOrd="0" destOrd="0" presId="urn:microsoft.com/office/officeart/2005/8/layout/hierarchy4"/>
    <dgm:cxn modelId="{F49B7D1B-5FC9-4C8F-9208-CC05A2995B1D}" type="presParOf" srcId="{3E9A3401-CDF7-8E46-87B0-A71177856B62}" destId="{500AD90E-E799-0C4E-910B-A97A68C40A9E}" srcOrd="1" destOrd="0" presId="urn:microsoft.com/office/officeart/2005/8/layout/hierarchy4"/>
    <dgm:cxn modelId="{F1E01543-6952-4DA2-9A1C-AD714179C394}" type="presParOf" srcId="{07F2754C-E745-394E-B448-01F146E9A493}" destId="{F70D16F5-85BA-F245-851A-4A66C7DF421D}" srcOrd="9" destOrd="0" presId="urn:microsoft.com/office/officeart/2005/8/layout/hierarchy4"/>
    <dgm:cxn modelId="{B0126233-7CA4-4BA8-94A1-8A0025C6CF26}" type="presParOf" srcId="{07F2754C-E745-394E-B448-01F146E9A493}" destId="{6B050408-9C32-724B-B50B-C759B83C7008}" srcOrd="10" destOrd="0" presId="urn:microsoft.com/office/officeart/2005/8/layout/hierarchy4"/>
    <dgm:cxn modelId="{4EDB25EA-EC0B-4C21-8942-A22C2A318243}" type="presParOf" srcId="{6B050408-9C32-724B-B50B-C759B83C7008}" destId="{C52D1841-36E2-9D4B-BC9F-A24074B8AAD3}" srcOrd="0" destOrd="0" presId="urn:microsoft.com/office/officeart/2005/8/layout/hierarchy4"/>
    <dgm:cxn modelId="{C4EFD549-DCAA-4848-9EFE-67A70054A720}"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YARN</a:t>
          </a:r>
          <a:endParaRPr lang="en-US" sz="1200" b="0" i="0" dirty="0">
            <a:latin typeface="Helvetica Neue Thin" charset="0"/>
            <a:ea typeface="Helvetica Neue Thin" charset="0"/>
            <a:cs typeface="Helvetica Neue Thin" charset="0"/>
          </a:endParaRPr>
        </a:p>
      </dgm:t>
    </dgm:pt>
    <dgm:pt modelId="{FC7148B5-AEE4-E04A-B4FB-72A85EF5D940}" type="par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33D93A36-9B60-EC44-9D4A-A7EB8321DFFD}" type="sib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FB0B53D9-195C-E342-956D-F618DF62762F}">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HBase</a:t>
          </a:r>
          <a:endParaRPr lang="en-US" sz="1200" b="0" i="0" dirty="0">
            <a:latin typeface="Helvetica Neue Thin" charset="0"/>
            <a:ea typeface="Helvetica Neue Thin" charset="0"/>
            <a:cs typeface="Helvetica Neue Thin" charset="0"/>
          </a:endParaRPr>
        </a:p>
      </dgm:t>
    </dgm:pt>
    <dgm:pt modelId="{B5CA3A2B-F6F0-1D4F-9108-A123E5BB82B2}" type="par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A0F1DF69-79A4-5A4A-B4FE-EBD450354025}" type="sib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027B2473-40A2-3B43-B43F-38DEED3C23F6}">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Flume</a:t>
          </a:r>
          <a:endParaRPr lang="en-US" sz="1200" b="0" i="0" dirty="0">
            <a:latin typeface="Helvetica Neue Thin" charset="0"/>
            <a:ea typeface="Helvetica Neue Thin" charset="0"/>
            <a:cs typeface="Helvetica Neue Thin" charset="0"/>
          </a:endParaRPr>
        </a:p>
      </dgm:t>
    </dgm:pt>
    <dgm:pt modelId="{BA77F311-3B04-B247-B68A-70B04552A3DE}" type="par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2091BAEF-6F31-D84F-97CC-2ECF5B035F26}" type="sib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B791BFEE-811F-614D-9E2F-A9E3C1B09519}">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qoop</a:t>
          </a:r>
          <a:endParaRPr lang="en-US" sz="1200" b="0" i="0" dirty="0">
            <a:latin typeface="Helvetica Neue Thin" charset="0"/>
            <a:ea typeface="Helvetica Neue Thin" charset="0"/>
            <a:cs typeface="Helvetica Neue Thin" charset="0"/>
          </a:endParaRPr>
        </a:p>
      </dgm:t>
    </dgm:pt>
    <dgm:pt modelId="{61DC409F-BF87-F247-A67F-21096AD9CFD3}" type="par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585B9CB7-8FB4-D94F-979B-A2F34A126751}" type="sib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D459B528-A2E8-9D40-B9F3-A1953FDF22D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olr / Lucene</a:t>
          </a:r>
          <a:endParaRPr lang="en-US" sz="1200" b="0" i="0" dirty="0">
            <a:latin typeface="Helvetica Neue Thin" charset="0"/>
            <a:ea typeface="Helvetica Neue Thin" charset="0"/>
            <a:cs typeface="Helvetica Neue Thin" charset="0"/>
          </a:endParaRPr>
        </a:p>
      </dgm:t>
    </dgm:pt>
    <dgm:pt modelId="{D4349E50-BD21-A443-89BC-5D8432335ADC}" type="par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1EB380D0-5C93-FD4B-AEC0-2890B45444BD}" type="sib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E3485FBA-95F2-054A-AEC2-229E0DA3A15E}">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Ambari</a:t>
          </a:r>
          <a:endParaRPr lang="en-US" sz="1200" b="0" i="0" dirty="0">
            <a:latin typeface="Helvetica Neue Thin" charset="0"/>
            <a:ea typeface="Helvetica Neue Thin" charset="0"/>
            <a:cs typeface="Helvetica Neue Thin" charset="0"/>
          </a:endParaRPr>
        </a:p>
      </dgm:t>
    </dgm:pt>
    <dgm:pt modelId="{12E1C44F-7698-124D-8B08-8F60057B054D}" type="par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2AC2EF0C-2EE3-6640-A796-8994BF99D979}" type="sib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D5A212E3-513B-5C4C-978D-179B0697EB27}" srcId="{FC8E4F8A-67E5-2045-9D5E-3FC794334922}" destId="{E3485FBA-95F2-054A-AEC2-229E0DA3A15E}" srcOrd="1" destOrd="0" parTransId="{12E1C44F-7698-124D-8B08-8F60057B054D}" sibTransId="{2AC2EF0C-2EE3-6640-A796-8994BF99D979}"/>
    <dgm:cxn modelId="{09311C26-F170-4DAC-88B9-AAA9DE3B650E}" type="presOf" srcId="{027B2473-40A2-3B43-B43F-38DEED3C23F6}" destId="{D73A2411-5BF3-5048-8FDD-2AA7C8DF38E0}" srcOrd="0" destOrd="0" presId="urn:microsoft.com/office/officeart/2005/8/layout/hierarchy4"/>
    <dgm:cxn modelId="{E32A4819-DA2E-2F47-A2F5-682D672333AE}" srcId="{FC8E4F8A-67E5-2045-9D5E-3FC794334922}" destId="{027B2473-40A2-3B43-B43F-38DEED3C23F6}" srcOrd="3" destOrd="0" parTransId="{BA77F311-3B04-B247-B68A-70B04552A3DE}" sibTransId="{2091BAEF-6F31-D84F-97CC-2ECF5B035F26}"/>
    <dgm:cxn modelId="{7299BF99-1417-2849-849C-D1CD85A7418A}" srcId="{FC8E4F8A-67E5-2045-9D5E-3FC794334922}" destId="{2F9F089B-6CDE-3644-A71A-A5129F9689C7}" srcOrd="0" destOrd="0" parTransId="{FC7148B5-AEE4-E04A-B4FB-72A85EF5D940}" sibTransId="{33D93A36-9B60-EC44-9D4A-A7EB8321DFFD}"/>
    <dgm:cxn modelId="{99495A53-B1A4-E54A-BDED-90569695457E}" srcId="{FC8E4F8A-67E5-2045-9D5E-3FC794334922}" destId="{D459B528-A2E8-9D40-B9F3-A1953FDF22D7}" srcOrd="5" destOrd="0" parTransId="{D4349E50-BD21-A443-89BC-5D8432335ADC}" sibTransId="{1EB380D0-5C93-FD4B-AEC0-2890B45444BD}"/>
    <dgm:cxn modelId="{F4ADF631-9243-439D-9160-45329E513CAA}" type="presOf" srcId="{FB0B53D9-195C-E342-956D-F618DF62762F}" destId="{027D962D-2EA5-464F-827D-5FE1D8B618A1}" srcOrd="0" destOrd="0" presId="urn:microsoft.com/office/officeart/2005/8/layout/hierarchy4"/>
    <dgm:cxn modelId="{EBE28BA0-EFBE-6E4F-B4BB-288E02289E0D}" srcId="{FC8E4F8A-67E5-2045-9D5E-3FC794334922}" destId="{B791BFEE-811F-614D-9E2F-A9E3C1B09519}" srcOrd="4" destOrd="0" parTransId="{61DC409F-BF87-F247-A67F-21096AD9CFD3}" sibTransId="{585B9CB7-8FB4-D94F-979B-A2F34A126751}"/>
    <dgm:cxn modelId="{09B67C73-7A70-4C37-AE86-BBC73FFFF749}" type="presOf" srcId="{2F9F089B-6CDE-3644-A71A-A5129F9689C7}" destId="{FF7A9D10-FC52-814C-BC88-3CB8D987E563}" srcOrd="0" destOrd="0" presId="urn:microsoft.com/office/officeart/2005/8/layout/hierarchy4"/>
    <dgm:cxn modelId="{23376225-1E0F-4AC8-A8CA-A34EFC0C3D83}" type="presOf" srcId="{B791BFEE-811F-614D-9E2F-A9E3C1B09519}" destId="{71EFDBA4-FD34-C04D-A343-12FFAAA2219C}"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676AA9AC-32B6-4437-94BC-A897B4E1F4C0}" type="presOf" srcId="{E3485FBA-95F2-054A-AEC2-229E0DA3A15E}" destId="{A97B6EE3-C913-9249-9BB0-F869F56702F9}" srcOrd="0" destOrd="0" presId="urn:microsoft.com/office/officeart/2005/8/layout/hierarchy4"/>
    <dgm:cxn modelId="{DC8DE7C0-D61C-417D-A484-845A71C995AB}" type="presOf" srcId="{FC8E4F8A-67E5-2045-9D5E-3FC794334922}" destId="{07F2754C-E745-394E-B448-01F146E9A493}" srcOrd="0" destOrd="0" presId="urn:microsoft.com/office/officeart/2005/8/layout/hierarchy4"/>
    <dgm:cxn modelId="{E7E1F60A-41F0-43DA-9F7D-77F47EBA7507}" type="presOf" srcId="{D459B528-A2E8-9D40-B9F3-A1953FDF22D7}" destId="{C52D1841-36E2-9D4B-BC9F-A24074B8AAD3}" srcOrd="0" destOrd="0" presId="urn:microsoft.com/office/officeart/2005/8/layout/hierarchy4"/>
    <dgm:cxn modelId="{75C26117-675B-4BAA-9127-F5C3262713A1}" type="presParOf" srcId="{07F2754C-E745-394E-B448-01F146E9A493}" destId="{72BF7568-AE61-D44D-B503-BA1B66CA9BB1}" srcOrd="0" destOrd="0" presId="urn:microsoft.com/office/officeart/2005/8/layout/hierarchy4"/>
    <dgm:cxn modelId="{A910009B-58E1-4D85-AC3F-1F0E53A7D515}" type="presParOf" srcId="{72BF7568-AE61-D44D-B503-BA1B66CA9BB1}" destId="{FF7A9D10-FC52-814C-BC88-3CB8D987E563}" srcOrd="0" destOrd="0" presId="urn:microsoft.com/office/officeart/2005/8/layout/hierarchy4"/>
    <dgm:cxn modelId="{2CD30104-780B-41C4-B881-ED4DA7BF76FF}" type="presParOf" srcId="{72BF7568-AE61-D44D-B503-BA1B66CA9BB1}" destId="{45E330AC-B148-B345-9481-A07AB4710ACD}" srcOrd="1" destOrd="0" presId="urn:microsoft.com/office/officeart/2005/8/layout/hierarchy4"/>
    <dgm:cxn modelId="{4716A8E6-4945-48B4-96CD-342D94E17E58}" type="presParOf" srcId="{07F2754C-E745-394E-B448-01F146E9A493}" destId="{18C604F1-C22A-4E48-89B9-E1871522632F}" srcOrd="1" destOrd="0" presId="urn:microsoft.com/office/officeart/2005/8/layout/hierarchy4"/>
    <dgm:cxn modelId="{8DE32513-89E2-4A9F-BC1D-3C3D1834F4B8}" type="presParOf" srcId="{07F2754C-E745-394E-B448-01F146E9A493}" destId="{4F740ECE-EE3A-3C41-991C-EA6F60703047}" srcOrd="2" destOrd="0" presId="urn:microsoft.com/office/officeart/2005/8/layout/hierarchy4"/>
    <dgm:cxn modelId="{6337F96B-7EC8-4B4A-B2C6-6BDF0EDB7BE3}" type="presParOf" srcId="{4F740ECE-EE3A-3C41-991C-EA6F60703047}" destId="{A97B6EE3-C913-9249-9BB0-F869F56702F9}" srcOrd="0" destOrd="0" presId="urn:microsoft.com/office/officeart/2005/8/layout/hierarchy4"/>
    <dgm:cxn modelId="{E6E3744E-AF25-4A5B-B7B0-2BB2BCCA6B0C}" type="presParOf" srcId="{4F740ECE-EE3A-3C41-991C-EA6F60703047}" destId="{576DEBAB-9492-7148-B255-B69B39AEEFD5}" srcOrd="1" destOrd="0" presId="urn:microsoft.com/office/officeart/2005/8/layout/hierarchy4"/>
    <dgm:cxn modelId="{2DA43C4E-F05E-4F61-94F3-B2A5C51F9DE8}" type="presParOf" srcId="{07F2754C-E745-394E-B448-01F146E9A493}" destId="{3E3E1513-051B-D747-9578-5157F0BD2606}" srcOrd="3" destOrd="0" presId="urn:microsoft.com/office/officeart/2005/8/layout/hierarchy4"/>
    <dgm:cxn modelId="{07F3C000-5248-46BD-9AB2-02C8F8C9592C}" type="presParOf" srcId="{07F2754C-E745-394E-B448-01F146E9A493}" destId="{2349EFCC-D6EF-F14F-8F03-59B42D87120C}" srcOrd="4" destOrd="0" presId="urn:microsoft.com/office/officeart/2005/8/layout/hierarchy4"/>
    <dgm:cxn modelId="{03537830-9BDB-4486-98E0-D6EAFAEE7B89}" type="presParOf" srcId="{2349EFCC-D6EF-F14F-8F03-59B42D87120C}" destId="{027D962D-2EA5-464F-827D-5FE1D8B618A1}" srcOrd="0" destOrd="0" presId="urn:microsoft.com/office/officeart/2005/8/layout/hierarchy4"/>
    <dgm:cxn modelId="{28ECF0B4-7E88-4E3C-8C94-49720462BE2C}" type="presParOf" srcId="{2349EFCC-D6EF-F14F-8F03-59B42D87120C}" destId="{5D52124E-E701-A14E-978B-675C86D7D941}" srcOrd="1" destOrd="0" presId="urn:microsoft.com/office/officeart/2005/8/layout/hierarchy4"/>
    <dgm:cxn modelId="{26CDF306-91EF-49D3-BDE5-647F34ADD611}" type="presParOf" srcId="{07F2754C-E745-394E-B448-01F146E9A493}" destId="{93302620-31AB-4744-93E7-EAF6C7A77D6E}" srcOrd="5" destOrd="0" presId="urn:microsoft.com/office/officeart/2005/8/layout/hierarchy4"/>
    <dgm:cxn modelId="{7ECD9766-A48E-4CD7-89ED-E7A7305DD639}" type="presParOf" srcId="{07F2754C-E745-394E-B448-01F146E9A493}" destId="{79A592FD-AF06-9642-8007-09D471248D33}" srcOrd="6" destOrd="0" presId="urn:microsoft.com/office/officeart/2005/8/layout/hierarchy4"/>
    <dgm:cxn modelId="{AA86DF0E-957D-456C-857B-EBA842D0C5EA}" type="presParOf" srcId="{79A592FD-AF06-9642-8007-09D471248D33}" destId="{D73A2411-5BF3-5048-8FDD-2AA7C8DF38E0}" srcOrd="0" destOrd="0" presId="urn:microsoft.com/office/officeart/2005/8/layout/hierarchy4"/>
    <dgm:cxn modelId="{B426B3B4-A603-45B9-B4AE-CB78525743EB}" type="presParOf" srcId="{79A592FD-AF06-9642-8007-09D471248D33}" destId="{A5B95F44-F627-F14E-A903-667E3E942B16}" srcOrd="1" destOrd="0" presId="urn:microsoft.com/office/officeart/2005/8/layout/hierarchy4"/>
    <dgm:cxn modelId="{76F38387-638D-4942-A306-3C84A6AEEF8E}" type="presParOf" srcId="{07F2754C-E745-394E-B448-01F146E9A493}" destId="{236AC1D0-3375-824D-8FDC-0F1798C4046E}" srcOrd="7" destOrd="0" presId="urn:microsoft.com/office/officeart/2005/8/layout/hierarchy4"/>
    <dgm:cxn modelId="{A12598BD-AFF8-409E-878E-C27ED9741796}" type="presParOf" srcId="{07F2754C-E745-394E-B448-01F146E9A493}" destId="{3E9A3401-CDF7-8E46-87B0-A71177856B62}" srcOrd="8" destOrd="0" presId="urn:microsoft.com/office/officeart/2005/8/layout/hierarchy4"/>
    <dgm:cxn modelId="{68E3D4E6-84D3-406E-B0AC-D8561C8F4C18}" type="presParOf" srcId="{3E9A3401-CDF7-8E46-87B0-A71177856B62}" destId="{71EFDBA4-FD34-C04D-A343-12FFAAA2219C}" srcOrd="0" destOrd="0" presId="urn:microsoft.com/office/officeart/2005/8/layout/hierarchy4"/>
    <dgm:cxn modelId="{3A62933B-AA5A-42E0-8F08-673891118A37}" type="presParOf" srcId="{3E9A3401-CDF7-8E46-87B0-A71177856B62}" destId="{500AD90E-E799-0C4E-910B-A97A68C40A9E}" srcOrd="1" destOrd="0" presId="urn:microsoft.com/office/officeart/2005/8/layout/hierarchy4"/>
    <dgm:cxn modelId="{A67212ED-BB48-4C35-BEEB-FA66278B8229}" type="presParOf" srcId="{07F2754C-E745-394E-B448-01F146E9A493}" destId="{F70D16F5-85BA-F245-851A-4A66C7DF421D}" srcOrd="9" destOrd="0" presId="urn:microsoft.com/office/officeart/2005/8/layout/hierarchy4"/>
    <dgm:cxn modelId="{4D0E6319-DD5F-4402-80A6-77330BC8175D}" type="presParOf" srcId="{07F2754C-E745-394E-B448-01F146E9A493}" destId="{6B050408-9C32-724B-B50B-C759B83C7008}" srcOrd="10" destOrd="0" presId="urn:microsoft.com/office/officeart/2005/8/layout/hierarchy4"/>
    <dgm:cxn modelId="{4797D2EA-2855-47B0-B7C4-6D7F34EA12BB}" type="presParOf" srcId="{6B050408-9C32-724B-B50B-C759B83C7008}" destId="{C52D1841-36E2-9D4B-BC9F-A24074B8AAD3}" srcOrd="0" destOrd="0" presId="urn:microsoft.com/office/officeart/2005/8/layout/hierarchy4"/>
    <dgm:cxn modelId="{CA15B5AE-BD88-4C72-8C00-18748D180493}"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Lst>
  <dgm:cxnLst>
    <dgm:cxn modelId="{33469608-C0BC-490B-BF82-205630FA4FF0}" type="presOf" srcId="{FC8E4F8A-67E5-2045-9D5E-3FC794334922}" destId="{07F2754C-E745-394E-B448-01F146E9A493}" srcOrd="0" destOrd="0" presId="urn:microsoft.com/office/officeart/2005/8/layout/hierarchy4"/>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Sheets</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4ECEFF12-FF6B-4A75-8066-76A94E3000F1}" type="presOf" srcId="{D459B528-A2E8-9D40-B9F3-A1953FDF22D7}" destId="{C52D1841-36E2-9D4B-BC9F-A24074B8AAD3}" srcOrd="0" destOrd="0" presId="urn:microsoft.com/office/officeart/2005/8/layout/hierarchy4"/>
    <dgm:cxn modelId="{7B7936C9-EE18-6641-B47C-71C825F154DB}" srcId="{FC8E4F8A-67E5-2045-9D5E-3FC794334922}" destId="{FB0B53D9-195C-E342-956D-F618DF62762F}" srcOrd="3" destOrd="0" parTransId="{B5CA3A2B-F6F0-1D4F-9108-A123E5BB82B2}" sibTransId="{A0F1DF69-79A4-5A4A-B4FE-EBD450354025}"/>
    <dgm:cxn modelId="{A0DDAF50-6504-46F5-A0C0-E9F2B1428F63}" type="presOf" srcId="{FB0B53D9-195C-E342-956D-F618DF62762F}" destId="{027D962D-2EA5-464F-827D-5FE1D8B618A1}" srcOrd="0" destOrd="0" presId="urn:microsoft.com/office/officeart/2005/8/layout/hierarchy4"/>
    <dgm:cxn modelId="{E32A4819-DA2E-2F47-A2F5-682D672333AE}" srcId="{FC8E4F8A-67E5-2045-9D5E-3FC794334922}" destId="{027B2473-40A2-3B43-B43F-38DEED3C23F6}" srcOrd="4" destOrd="0" parTransId="{BA77F311-3B04-B247-B68A-70B04552A3DE}" sibTransId="{2091BAEF-6F31-D84F-97CC-2ECF5B035F26}"/>
    <dgm:cxn modelId="{CEFAA63A-4F16-479F-803B-F3A228536074}" type="presOf" srcId="{40BD6C83-8F9F-5A4F-9687-09C767822952}" destId="{97B909D6-A9F8-ED48-8A1A-010B75477D74}" srcOrd="0" destOrd="0" presId="urn:microsoft.com/office/officeart/2005/8/layout/hierarchy4"/>
    <dgm:cxn modelId="{B63BFD41-E502-4820-844C-CD3FC0EAF015}" type="presOf" srcId="{027B2473-40A2-3B43-B43F-38DEED3C23F6}" destId="{D73A2411-5BF3-5048-8FDD-2AA7C8DF38E0}" srcOrd="0" destOrd="0" presId="urn:microsoft.com/office/officeart/2005/8/layout/hierarchy4"/>
    <dgm:cxn modelId="{6F6F9080-7062-4DD2-AB83-8C8B1438AE93}" type="presOf" srcId="{B791BFEE-811F-614D-9E2F-A9E3C1B09519}" destId="{71EFDBA4-FD34-C04D-A343-12FFAAA2219C}"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CE5F612A-3C5D-4A55-BF61-82CE6E5EB9C1}" type="presOf" srcId="{FC8E4F8A-67E5-2045-9D5E-3FC794334922}" destId="{07F2754C-E745-394E-B448-01F146E9A493}" srcOrd="0" destOrd="0" presId="urn:microsoft.com/office/officeart/2005/8/layout/hierarchy4"/>
    <dgm:cxn modelId="{459333A1-76FB-7240-A9C0-38963D44CF8B}" srcId="{FC8E4F8A-67E5-2045-9D5E-3FC794334922}" destId="{40BD6C83-8F9F-5A4F-9687-09C767822952}" srcOrd="1" destOrd="0" parTransId="{A5D03699-D068-F54C-826D-09B305F306A4}" sibTransId="{AFC67590-308D-5B41-84B9-2376F08D1780}"/>
    <dgm:cxn modelId="{99495A53-B1A4-E54A-BDED-90569695457E}" srcId="{FC8E4F8A-67E5-2045-9D5E-3FC794334922}" destId="{D459B528-A2E8-9D40-B9F3-A1953FDF22D7}" srcOrd="6" destOrd="0" parTransId="{D4349E50-BD21-A443-89BC-5D8432335ADC}" sibTransId="{1EB380D0-5C93-FD4B-AEC0-2890B45444BD}"/>
    <dgm:cxn modelId="{28736F94-9B56-44C3-BAE6-402C7FBC50DF}" type="presOf" srcId="{2F9F089B-6CDE-3644-A71A-A5129F9689C7}" destId="{FF7A9D10-FC52-814C-BC88-3CB8D987E563}" srcOrd="0" destOrd="0" presId="urn:microsoft.com/office/officeart/2005/8/layout/hierarchy4"/>
    <dgm:cxn modelId="{9525344F-C7A1-4E22-AF76-DE0E4B9DFF58}" type="presOf" srcId="{E3485FBA-95F2-054A-AEC2-229E0DA3A15E}" destId="{A97B6EE3-C913-9249-9BB0-F869F56702F9}" srcOrd="0" destOrd="0" presId="urn:microsoft.com/office/officeart/2005/8/layout/hierarchy4"/>
    <dgm:cxn modelId="{D5A212E3-513B-5C4C-978D-179B0697EB27}" srcId="{FC8E4F8A-67E5-2045-9D5E-3FC794334922}" destId="{E3485FBA-95F2-054A-AEC2-229E0DA3A15E}" srcOrd="2" destOrd="0" parTransId="{12E1C44F-7698-124D-8B08-8F60057B054D}" sibTransId="{2AC2EF0C-2EE3-6640-A796-8994BF99D979}"/>
    <dgm:cxn modelId="{EBE28BA0-EFBE-6E4F-B4BB-288E02289E0D}" srcId="{FC8E4F8A-67E5-2045-9D5E-3FC794334922}" destId="{B791BFEE-811F-614D-9E2F-A9E3C1B09519}" srcOrd="5" destOrd="0" parTransId="{61DC409F-BF87-F247-A67F-21096AD9CFD3}" sibTransId="{585B9CB7-8FB4-D94F-979B-A2F34A126751}"/>
    <dgm:cxn modelId="{807C4F08-DC8B-4340-8497-9ED84EBE9E0B}" type="presParOf" srcId="{07F2754C-E745-394E-B448-01F146E9A493}" destId="{72BF7568-AE61-D44D-B503-BA1B66CA9BB1}" srcOrd="0" destOrd="0" presId="urn:microsoft.com/office/officeart/2005/8/layout/hierarchy4"/>
    <dgm:cxn modelId="{54E275E0-762E-4821-B67E-B9F72C85C46A}" type="presParOf" srcId="{72BF7568-AE61-D44D-B503-BA1B66CA9BB1}" destId="{FF7A9D10-FC52-814C-BC88-3CB8D987E563}" srcOrd="0" destOrd="0" presId="urn:microsoft.com/office/officeart/2005/8/layout/hierarchy4"/>
    <dgm:cxn modelId="{0A469216-9890-41EF-9253-87C8C7A3F8B4}" type="presParOf" srcId="{72BF7568-AE61-D44D-B503-BA1B66CA9BB1}" destId="{45E330AC-B148-B345-9481-A07AB4710ACD}" srcOrd="1" destOrd="0" presId="urn:microsoft.com/office/officeart/2005/8/layout/hierarchy4"/>
    <dgm:cxn modelId="{6752AC57-352E-4062-B6DC-1C27B0B4A29A}" type="presParOf" srcId="{07F2754C-E745-394E-B448-01F146E9A493}" destId="{18C604F1-C22A-4E48-89B9-E1871522632F}" srcOrd="1" destOrd="0" presId="urn:microsoft.com/office/officeart/2005/8/layout/hierarchy4"/>
    <dgm:cxn modelId="{A76B6BC6-BE15-4B50-8231-7FD4093DDF57}" type="presParOf" srcId="{07F2754C-E745-394E-B448-01F146E9A493}" destId="{1211B795-63B4-6D42-83DC-8DE364644B0A}" srcOrd="2" destOrd="0" presId="urn:microsoft.com/office/officeart/2005/8/layout/hierarchy4"/>
    <dgm:cxn modelId="{B8ED84F4-08AE-4CA3-987E-18B6564FF26B}" type="presParOf" srcId="{1211B795-63B4-6D42-83DC-8DE364644B0A}" destId="{97B909D6-A9F8-ED48-8A1A-010B75477D74}" srcOrd="0" destOrd="0" presId="urn:microsoft.com/office/officeart/2005/8/layout/hierarchy4"/>
    <dgm:cxn modelId="{496B39FB-1352-498C-A760-C1EA44B892CB}" type="presParOf" srcId="{1211B795-63B4-6D42-83DC-8DE364644B0A}" destId="{E81ECE34-0A05-A84B-BC4B-0F895A797FB2}" srcOrd="1" destOrd="0" presId="urn:microsoft.com/office/officeart/2005/8/layout/hierarchy4"/>
    <dgm:cxn modelId="{B7B4A4F7-1BCA-4C79-A4AB-E1AA27807F7E}" type="presParOf" srcId="{07F2754C-E745-394E-B448-01F146E9A493}" destId="{C2811CAA-C3FE-204F-B5D5-68D40BF1F1E7}" srcOrd="3" destOrd="0" presId="urn:microsoft.com/office/officeart/2005/8/layout/hierarchy4"/>
    <dgm:cxn modelId="{E3BD47A5-D021-4E20-8D6E-A1559C14C90C}" type="presParOf" srcId="{07F2754C-E745-394E-B448-01F146E9A493}" destId="{4F740ECE-EE3A-3C41-991C-EA6F60703047}" srcOrd="4" destOrd="0" presId="urn:microsoft.com/office/officeart/2005/8/layout/hierarchy4"/>
    <dgm:cxn modelId="{9BF3B920-8EB2-4284-8C73-51A768CBA65D}" type="presParOf" srcId="{4F740ECE-EE3A-3C41-991C-EA6F60703047}" destId="{A97B6EE3-C913-9249-9BB0-F869F56702F9}" srcOrd="0" destOrd="0" presId="urn:microsoft.com/office/officeart/2005/8/layout/hierarchy4"/>
    <dgm:cxn modelId="{DA1DF92F-C948-4CFD-90B4-9AE6332EC956}" type="presParOf" srcId="{4F740ECE-EE3A-3C41-991C-EA6F60703047}" destId="{576DEBAB-9492-7148-B255-B69B39AEEFD5}" srcOrd="1" destOrd="0" presId="urn:microsoft.com/office/officeart/2005/8/layout/hierarchy4"/>
    <dgm:cxn modelId="{3F8A3429-4BC9-4B57-A538-1AE74DC5F8F4}" type="presParOf" srcId="{07F2754C-E745-394E-B448-01F146E9A493}" destId="{3E3E1513-051B-D747-9578-5157F0BD2606}" srcOrd="5" destOrd="0" presId="urn:microsoft.com/office/officeart/2005/8/layout/hierarchy4"/>
    <dgm:cxn modelId="{D43C9111-5C02-49D7-B279-C54DAB176C5E}" type="presParOf" srcId="{07F2754C-E745-394E-B448-01F146E9A493}" destId="{2349EFCC-D6EF-F14F-8F03-59B42D87120C}" srcOrd="6" destOrd="0" presId="urn:microsoft.com/office/officeart/2005/8/layout/hierarchy4"/>
    <dgm:cxn modelId="{7A74A38C-4B43-435F-B7CE-5B32C0C408E8}" type="presParOf" srcId="{2349EFCC-D6EF-F14F-8F03-59B42D87120C}" destId="{027D962D-2EA5-464F-827D-5FE1D8B618A1}" srcOrd="0" destOrd="0" presId="urn:microsoft.com/office/officeart/2005/8/layout/hierarchy4"/>
    <dgm:cxn modelId="{D5AF78AE-AE35-417B-8E31-AEF3885D954B}" type="presParOf" srcId="{2349EFCC-D6EF-F14F-8F03-59B42D87120C}" destId="{5D52124E-E701-A14E-978B-675C86D7D941}" srcOrd="1" destOrd="0" presId="urn:microsoft.com/office/officeart/2005/8/layout/hierarchy4"/>
    <dgm:cxn modelId="{A1B47785-E901-4140-86F9-B7AFF3D5C962}" type="presParOf" srcId="{07F2754C-E745-394E-B448-01F146E9A493}" destId="{93302620-31AB-4744-93E7-EAF6C7A77D6E}" srcOrd="7" destOrd="0" presId="urn:microsoft.com/office/officeart/2005/8/layout/hierarchy4"/>
    <dgm:cxn modelId="{47EDED5A-06C9-425E-B30D-E87C3753255A}" type="presParOf" srcId="{07F2754C-E745-394E-B448-01F146E9A493}" destId="{79A592FD-AF06-9642-8007-09D471248D33}" srcOrd="8" destOrd="0" presId="urn:microsoft.com/office/officeart/2005/8/layout/hierarchy4"/>
    <dgm:cxn modelId="{83E3708C-AAA3-461F-B4CE-B45174A9C319}" type="presParOf" srcId="{79A592FD-AF06-9642-8007-09D471248D33}" destId="{D73A2411-5BF3-5048-8FDD-2AA7C8DF38E0}" srcOrd="0" destOrd="0" presId="urn:microsoft.com/office/officeart/2005/8/layout/hierarchy4"/>
    <dgm:cxn modelId="{BE1B04BD-90C2-4D91-960A-544CE7DC2EA8}" type="presParOf" srcId="{79A592FD-AF06-9642-8007-09D471248D33}" destId="{A5B95F44-F627-F14E-A903-667E3E942B16}" srcOrd="1" destOrd="0" presId="urn:microsoft.com/office/officeart/2005/8/layout/hierarchy4"/>
    <dgm:cxn modelId="{D905A532-F88D-43DC-9563-CC365E417375}" type="presParOf" srcId="{07F2754C-E745-394E-B448-01F146E9A493}" destId="{236AC1D0-3375-824D-8FDC-0F1798C4046E}" srcOrd="9" destOrd="0" presId="urn:microsoft.com/office/officeart/2005/8/layout/hierarchy4"/>
    <dgm:cxn modelId="{D008DB76-BC11-4EDA-96EB-6E13F8447D28}" type="presParOf" srcId="{07F2754C-E745-394E-B448-01F146E9A493}" destId="{3E9A3401-CDF7-8E46-87B0-A71177856B62}" srcOrd="10" destOrd="0" presId="urn:microsoft.com/office/officeart/2005/8/layout/hierarchy4"/>
    <dgm:cxn modelId="{D0E755B2-8DD0-43A5-825A-D65ACFACA7D0}" type="presParOf" srcId="{3E9A3401-CDF7-8E46-87B0-A71177856B62}" destId="{71EFDBA4-FD34-C04D-A343-12FFAAA2219C}" srcOrd="0" destOrd="0" presId="urn:microsoft.com/office/officeart/2005/8/layout/hierarchy4"/>
    <dgm:cxn modelId="{11A41B32-0038-4E5A-910E-58665BBB755C}" type="presParOf" srcId="{3E9A3401-CDF7-8E46-87B0-A71177856B62}" destId="{500AD90E-E799-0C4E-910B-A97A68C40A9E}" srcOrd="1" destOrd="0" presId="urn:microsoft.com/office/officeart/2005/8/layout/hierarchy4"/>
    <dgm:cxn modelId="{FD31BC06-6F63-4359-A7F7-C9AA34DA3B27}" type="presParOf" srcId="{07F2754C-E745-394E-B448-01F146E9A493}" destId="{F70D16F5-85BA-F245-851A-4A66C7DF421D}" srcOrd="11" destOrd="0" presId="urn:microsoft.com/office/officeart/2005/8/layout/hierarchy4"/>
    <dgm:cxn modelId="{5AC66A24-AE12-4087-A65E-E59BF5A67CB1}" type="presParOf" srcId="{07F2754C-E745-394E-B448-01F146E9A493}" destId="{6B050408-9C32-724B-B50B-C759B83C7008}" srcOrd="12" destOrd="0" presId="urn:microsoft.com/office/officeart/2005/8/layout/hierarchy4"/>
    <dgm:cxn modelId="{3775F515-CDC9-4812-A3F9-7605CC563503}" type="presParOf" srcId="{6B050408-9C32-724B-B50B-C759B83C7008}" destId="{C52D1841-36E2-9D4B-BC9F-A24074B8AAD3}" srcOrd="0" destOrd="0" presId="urn:microsoft.com/office/officeart/2005/8/layout/hierarchy4"/>
    <dgm:cxn modelId="{E5A7FCA6-7630-4F40-897B-A862097860ED}"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2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 SQL</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7B7936C9-EE18-6641-B47C-71C825F154DB}" srcId="{FC8E4F8A-67E5-2045-9D5E-3FC794334922}" destId="{FB0B53D9-195C-E342-956D-F618DF62762F}" srcOrd="3" destOrd="0" parTransId="{B5CA3A2B-F6F0-1D4F-9108-A123E5BB82B2}" sibTransId="{A0F1DF69-79A4-5A4A-B4FE-EBD450354025}"/>
    <dgm:cxn modelId="{3B1A8F59-D757-4F2A-861E-1EE3537F3A77}" type="presOf" srcId="{40BD6C83-8F9F-5A4F-9687-09C767822952}" destId="{97B909D6-A9F8-ED48-8A1A-010B75477D74}" srcOrd="0" destOrd="0" presId="urn:microsoft.com/office/officeart/2005/8/layout/hierarchy4"/>
    <dgm:cxn modelId="{577D458F-8BF2-421D-9597-586691C7F346}" type="presOf" srcId="{FC8E4F8A-67E5-2045-9D5E-3FC794334922}" destId="{07F2754C-E745-394E-B448-01F146E9A493}" srcOrd="0" destOrd="0" presId="urn:microsoft.com/office/officeart/2005/8/layout/hierarchy4"/>
    <dgm:cxn modelId="{E32A4819-DA2E-2F47-A2F5-682D672333AE}" srcId="{FC8E4F8A-67E5-2045-9D5E-3FC794334922}" destId="{027B2473-40A2-3B43-B43F-38DEED3C23F6}" srcOrd="4" destOrd="0" parTransId="{BA77F311-3B04-B247-B68A-70B04552A3DE}" sibTransId="{2091BAEF-6F31-D84F-97CC-2ECF5B035F26}"/>
    <dgm:cxn modelId="{AF3B9C21-2813-47FB-BE2A-D0C4634BBA2A}" type="presOf" srcId="{E3485FBA-95F2-054A-AEC2-229E0DA3A15E}" destId="{A97B6EE3-C913-9249-9BB0-F869F56702F9}"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F3BEACC4-EC53-41BA-8A49-4B8D76DDEF80}" type="presOf" srcId="{027B2473-40A2-3B43-B43F-38DEED3C23F6}" destId="{D73A2411-5BF3-5048-8FDD-2AA7C8DF38E0}" srcOrd="0" destOrd="0" presId="urn:microsoft.com/office/officeart/2005/8/layout/hierarchy4"/>
    <dgm:cxn modelId="{17A85863-828C-449C-ADDB-BD9212608C91}" type="presOf" srcId="{B791BFEE-811F-614D-9E2F-A9E3C1B09519}" destId="{71EFDBA4-FD34-C04D-A343-12FFAAA2219C}" srcOrd="0" destOrd="0" presId="urn:microsoft.com/office/officeart/2005/8/layout/hierarchy4"/>
    <dgm:cxn modelId="{F1666A16-F458-412B-9B86-BA855B61CF63}" type="presOf" srcId="{2F9F089B-6CDE-3644-A71A-A5129F9689C7}" destId="{FF7A9D10-FC52-814C-BC88-3CB8D987E563}" srcOrd="0" destOrd="0" presId="urn:microsoft.com/office/officeart/2005/8/layout/hierarchy4"/>
    <dgm:cxn modelId="{459333A1-76FB-7240-A9C0-38963D44CF8B}" srcId="{FC8E4F8A-67E5-2045-9D5E-3FC794334922}" destId="{40BD6C83-8F9F-5A4F-9687-09C767822952}" srcOrd="1" destOrd="0" parTransId="{A5D03699-D068-F54C-826D-09B305F306A4}" sibTransId="{AFC67590-308D-5B41-84B9-2376F08D1780}"/>
    <dgm:cxn modelId="{99495A53-B1A4-E54A-BDED-90569695457E}" srcId="{FC8E4F8A-67E5-2045-9D5E-3FC794334922}" destId="{D459B528-A2E8-9D40-B9F3-A1953FDF22D7}" srcOrd="6" destOrd="0" parTransId="{D4349E50-BD21-A443-89BC-5D8432335ADC}" sibTransId="{1EB380D0-5C93-FD4B-AEC0-2890B45444BD}"/>
    <dgm:cxn modelId="{2F79794C-FA10-4CE2-8930-35F5D612079D}" type="presOf" srcId="{FB0B53D9-195C-E342-956D-F618DF62762F}" destId="{027D962D-2EA5-464F-827D-5FE1D8B618A1}" srcOrd="0" destOrd="0" presId="urn:microsoft.com/office/officeart/2005/8/layout/hierarchy4"/>
    <dgm:cxn modelId="{36D42F64-66F3-4179-AFCB-B960822AA4C8}" type="presOf" srcId="{D459B528-A2E8-9D40-B9F3-A1953FDF22D7}" destId="{C52D1841-36E2-9D4B-BC9F-A24074B8AAD3}" srcOrd="0" destOrd="0" presId="urn:microsoft.com/office/officeart/2005/8/layout/hierarchy4"/>
    <dgm:cxn modelId="{D5A212E3-513B-5C4C-978D-179B0697EB27}" srcId="{FC8E4F8A-67E5-2045-9D5E-3FC794334922}" destId="{E3485FBA-95F2-054A-AEC2-229E0DA3A15E}" srcOrd="2" destOrd="0" parTransId="{12E1C44F-7698-124D-8B08-8F60057B054D}" sibTransId="{2AC2EF0C-2EE3-6640-A796-8994BF99D979}"/>
    <dgm:cxn modelId="{EBE28BA0-EFBE-6E4F-B4BB-288E02289E0D}" srcId="{FC8E4F8A-67E5-2045-9D5E-3FC794334922}" destId="{B791BFEE-811F-614D-9E2F-A9E3C1B09519}" srcOrd="5" destOrd="0" parTransId="{61DC409F-BF87-F247-A67F-21096AD9CFD3}" sibTransId="{585B9CB7-8FB4-D94F-979B-A2F34A126751}"/>
    <dgm:cxn modelId="{3819FB6B-6531-471F-80ED-A9EE2FB111FC}" type="presParOf" srcId="{07F2754C-E745-394E-B448-01F146E9A493}" destId="{72BF7568-AE61-D44D-B503-BA1B66CA9BB1}" srcOrd="0" destOrd="0" presId="urn:microsoft.com/office/officeart/2005/8/layout/hierarchy4"/>
    <dgm:cxn modelId="{43E80A34-7080-4CDE-A775-F6A1A01C3751}" type="presParOf" srcId="{72BF7568-AE61-D44D-B503-BA1B66CA9BB1}" destId="{FF7A9D10-FC52-814C-BC88-3CB8D987E563}" srcOrd="0" destOrd="0" presId="urn:microsoft.com/office/officeart/2005/8/layout/hierarchy4"/>
    <dgm:cxn modelId="{FF31FB62-5E8A-4AD3-A8BD-86E9B475F88D}" type="presParOf" srcId="{72BF7568-AE61-D44D-B503-BA1B66CA9BB1}" destId="{45E330AC-B148-B345-9481-A07AB4710ACD}" srcOrd="1" destOrd="0" presId="urn:microsoft.com/office/officeart/2005/8/layout/hierarchy4"/>
    <dgm:cxn modelId="{A8D3C0C1-A14D-4C8D-BDF3-5689B2E87E92}" type="presParOf" srcId="{07F2754C-E745-394E-B448-01F146E9A493}" destId="{18C604F1-C22A-4E48-89B9-E1871522632F}" srcOrd="1" destOrd="0" presId="urn:microsoft.com/office/officeart/2005/8/layout/hierarchy4"/>
    <dgm:cxn modelId="{CE48D042-20F4-4212-A4E4-E6E6E7090F74}" type="presParOf" srcId="{07F2754C-E745-394E-B448-01F146E9A493}" destId="{1211B795-63B4-6D42-83DC-8DE364644B0A}" srcOrd="2" destOrd="0" presId="urn:microsoft.com/office/officeart/2005/8/layout/hierarchy4"/>
    <dgm:cxn modelId="{90FBE17A-1201-4BDC-A5D9-308DB2451210}" type="presParOf" srcId="{1211B795-63B4-6D42-83DC-8DE364644B0A}" destId="{97B909D6-A9F8-ED48-8A1A-010B75477D74}" srcOrd="0" destOrd="0" presId="urn:microsoft.com/office/officeart/2005/8/layout/hierarchy4"/>
    <dgm:cxn modelId="{85881DB9-C202-4097-AA25-BF232C36B213}" type="presParOf" srcId="{1211B795-63B4-6D42-83DC-8DE364644B0A}" destId="{E81ECE34-0A05-A84B-BC4B-0F895A797FB2}" srcOrd="1" destOrd="0" presId="urn:microsoft.com/office/officeart/2005/8/layout/hierarchy4"/>
    <dgm:cxn modelId="{9CD16C2D-70A0-451C-B406-C2436EBAD0C8}" type="presParOf" srcId="{07F2754C-E745-394E-B448-01F146E9A493}" destId="{C2811CAA-C3FE-204F-B5D5-68D40BF1F1E7}" srcOrd="3" destOrd="0" presId="urn:microsoft.com/office/officeart/2005/8/layout/hierarchy4"/>
    <dgm:cxn modelId="{E0190B4D-4BC4-43FD-B899-A6C4D8873E22}" type="presParOf" srcId="{07F2754C-E745-394E-B448-01F146E9A493}" destId="{4F740ECE-EE3A-3C41-991C-EA6F60703047}" srcOrd="4" destOrd="0" presId="urn:microsoft.com/office/officeart/2005/8/layout/hierarchy4"/>
    <dgm:cxn modelId="{25DB736E-84E2-48FA-80D9-BB61D1E162AE}" type="presParOf" srcId="{4F740ECE-EE3A-3C41-991C-EA6F60703047}" destId="{A97B6EE3-C913-9249-9BB0-F869F56702F9}" srcOrd="0" destOrd="0" presId="urn:microsoft.com/office/officeart/2005/8/layout/hierarchy4"/>
    <dgm:cxn modelId="{DD2A5A30-75C7-4972-9E9C-B97A98AD53C5}" type="presParOf" srcId="{4F740ECE-EE3A-3C41-991C-EA6F60703047}" destId="{576DEBAB-9492-7148-B255-B69B39AEEFD5}" srcOrd="1" destOrd="0" presId="urn:microsoft.com/office/officeart/2005/8/layout/hierarchy4"/>
    <dgm:cxn modelId="{9B95B3BF-AF01-45CE-87CA-D4567DF1E6E3}" type="presParOf" srcId="{07F2754C-E745-394E-B448-01F146E9A493}" destId="{3E3E1513-051B-D747-9578-5157F0BD2606}" srcOrd="5" destOrd="0" presId="urn:microsoft.com/office/officeart/2005/8/layout/hierarchy4"/>
    <dgm:cxn modelId="{328C3123-74D8-481B-A461-861857C0221E}" type="presParOf" srcId="{07F2754C-E745-394E-B448-01F146E9A493}" destId="{2349EFCC-D6EF-F14F-8F03-59B42D87120C}" srcOrd="6" destOrd="0" presId="urn:microsoft.com/office/officeart/2005/8/layout/hierarchy4"/>
    <dgm:cxn modelId="{A5EA27F4-39A5-4DA7-A246-9D543A3CA894}" type="presParOf" srcId="{2349EFCC-D6EF-F14F-8F03-59B42D87120C}" destId="{027D962D-2EA5-464F-827D-5FE1D8B618A1}" srcOrd="0" destOrd="0" presId="urn:microsoft.com/office/officeart/2005/8/layout/hierarchy4"/>
    <dgm:cxn modelId="{216863D5-2E44-4951-84CB-A9FFF325525C}" type="presParOf" srcId="{2349EFCC-D6EF-F14F-8F03-59B42D87120C}" destId="{5D52124E-E701-A14E-978B-675C86D7D941}" srcOrd="1" destOrd="0" presId="urn:microsoft.com/office/officeart/2005/8/layout/hierarchy4"/>
    <dgm:cxn modelId="{372CAAAE-827C-4841-AC63-4A9C03609A88}" type="presParOf" srcId="{07F2754C-E745-394E-B448-01F146E9A493}" destId="{93302620-31AB-4744-93E7-EAF6C7A77D6E}" srcOrd="7" destOrd="0" presId="urn:microsoft.com/office/officeart/2005/8/layout/hierarchy4"/>
    <dgm:cxn modelId="{04707611-D96A-4C0C-93F8-791721F23D8F}" type="presParOf" srcId="{07F2754C-E745-394E-B448-01F146E9A493}" destId="{79A592FD-AF06-9642-8007-09D471248D33}" srcOrd="8" destOrd="0" presId="urn:microsoft.com/office/officeart/2005/8/layout/hierarchy4"/>
    <dgm:cxn modelId="{023B9A97-91DC-4A1A-964C-A4F15865E69A}" type="presParOf" srcId="{79A592FD-AF06-9642-8007-09D471248D33}" destId="{D73A2411-5BF3-5048-8FDD-2AA7C8DF38E0}" srcOrd="0" destOrd="0" presId="urn:microsoft.com/office/officeart/2005/8/layout/hierarchy4"/>
    <dgm:cxn modelId="{3C492A4F-EC3D-4E1F-A64D-C0C9EEF6E720}" type="presParOf" srcId="{79A592FD-AF06-9642-8007-09D471248D33}" destId="{A5B95F44-F627-F14E-A903-667E3E942B16}" srcOrd="1" destOrd="0" presId="urn:microsoft.com/office/officeart/2005/8/layout/hierarchy4"/>
    <dgm:cxn modelId="{D0B23DEC-FAAD-49C7-9972-07CFB0A0D066}" type="presParOf" srcId="{07F2754C-E745-394E-B448-01F146E9A493}" destId="{236AC1D0-3375-824D-8FDC-0F1798C4046E}" srcOrd="9" destOrd="0" presId="urn:microsoft.com/office/officeart/2005/8/layout/hierarchy4"/>
    <dgm:cxn modelId="{7A436848-F985-4506-999B-905F9D88B54F}" type="presParOf" srcId="{07F2754C-E745-394E-B448-01F146E9A493}" destId="{3E9A3401-CDF7-8E46-87B0-A71177856B62}" srcOrd="10" destOrd="0" presId="urn:microsoft.com/office/officeart/2005/8/layout/hierarchy4"/>
    <dgm:cxn modelId="{0FF43C99-87A0-4AEA-98BD-E0EF5D5D7685}" type="presParOf" srcId="{3E9A3401-CDF7-8E46-87B0-A71177856B62}" destId="{71EFDBA4-FD34-C04D-A343-12FFAAA2219C}" srcOrd="0" destOrd="0" presId="urn:microsoft.com/office/officeart/2005/8/layout/hierarchy4"/>
    <dgm:cxn modelId="{87A74EC1-2DC9-414B-A240-17B5698A626F}" type="presParOf" srcId="{3E9A3401-CDF7-8E46-87B0-A71177856B62}" destId="{500AD90E-E799-0C4E-910B-A97A68C40A9E}" srcOrd="1" destOrd="0" presId="urn:microsoft.com/office/officeart/2005/8/layout/hierarchy4"/>
    <dgm:cxn modelId="{987B6603-B025-4733-A770-D30DD70B2798}" type="presParOf" srcId="{07F2754C-E745-394E-B448-01F146E9A493}" destId="{F70D16F5-85BA-F245-851A-4A66C7DF421D}" srcOrd="11" destOrd="0" presId="urn:microsoft.com/office/officeart/2005/8/layout/hierarchy4"/>
    <dgm:cxn modelId="{9A5A0FBA-731D-4281-A2B1-36F6DE656668}" type="presParOf" srcId="{07F2754C-E745-394E-B448-01F146E9A493}" destId="{6B050408-9C32-724B-B50B-C759B83C7008}" srcOrd="12" destOrd="0" presId="urn:microsoft.com/office/officeart/2005/8/layout/hierarchy4"/>
    <dgm:cxn modelId="{DAD9528F-281F-45D8-8A58-397FE92E4896}" type="presParOf" srcId="{6B050408-9C32-724B-B50B-C759B83C7008}" destId="{C52D1841-36E2-9D4B-BC9F-A24074B8AAD3}" srcOrd="0" destOrd="0" presId="urn:microsoft.com/office/officeart/2005/8/layout/hierarchy4"/>
    <dgm:cxn modelId="{FEB2C898-148D-4785-AD8E-93A4144F6DE2}"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2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HDFS</a:t>
          </a:r>
          <a:endParaRPr lang="en-US" sz="1200" b="0" i="0" dirty="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B0B53D9-195C-E342-956D-F618DF62762F}">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Spark</a:t>
          </a:r>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ive</a:t>
          </a:r>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Catalog</a:t>
          </a:r>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Pig</a:t>
          </a:r>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MapReduce</a:t>
          </a:r>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9495A53-B1A4-E54A-BDED-90569695457E}" srcId="{FC8E4F8A-67E5-2045-9D5E-3FC794334922}" destId="{D459B528-A2E8-9D40-B9F3-A1953FDF22D7}" srcOrd="5" destOrd="0" parTransId="{D4349E50-BD21-A443-89BC-5D8432335ADC}" sibTransId="{1EB380D0-5C93-FD4B-AEC0-2890B45444BD}"/>
    <dgm:cxn modelId="{E24DF4BE-3BEB-4640-B7F7-3F7B9E84D6A9}" type="presOf" srcId="{FB0B53D9-195C-E342-956D-F618DF62762F}" destId="{027D962D-2EA5-464F-827D-5FE1D8B618A1}" srcOrd="0" destOrd="0" presId="urn:microsoft.com/office/officeart/2005/8/layout/hierarchy4"/>
    <dgm:cxn modelId="{88826C73-D0DC-4A06-8E59-1DF6CDA744E3}" type="presOf" srcId="{027B2473-40A2-3B43-B43F-38DEED3C23F6}" destId="{D73A2411-5BF3-5048-8FDD-2AA7C8DF38E0}" srcOrd="0" destOrd="0" presId="urn:microsoft.com/office/officeart/2005/8/layout/hierarchy4"/>
    <dgm:cxn modelId="{964AE07D-5CE9-4814-9C59-05846ACD32A7}" type="presOf" srcId="{B791BFEE-811F-614D-9E2F-A9E3C1B09519}" destId="{71EFDBA4-FD34-C04D-A343-12FFAAA2219C}" srcOrd="0" destOrd="0" presId="urn:microsoft.com/office/officeart/2005/8/layout/hierarchy4"/>
    <dgm:cxn modelId="{261BE447-4943-4E2F-A107-CC684413E1CA}" type="presOf" srcId="{FC8E4F8A-67E5-2045-9D5E-3FC794334922}" destId="{07F2754C-E745-394E-B448-01F146E9A493}"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67E62150-1D16-440D-92BE-EE39CDC58EC2}" type="presOf" srcId="{E3485FBA-95F2-054A-AEC2-229E0DA3A15E}" destId="{A97B6EE3-C913-9249-9BB0-F869F56702F9}" srcOrd="0" destOrd="0" presId="urn:microsoft.com/office/officeart/2005/8/layout/hierarchy4"/>
    <dgm:cxn modelId="{EBE28BA0-EFBE-6E4F-B4BB-288E02289E0D}" srcId="{FC8E4F8A-67E5-2045-9D5E-3FC794334922}" destId="{B791BFEE-811F-614D-9E2F-A9E3C1B09519}" srcOrd="4" destOrd="0" parTransId="{61DC409F-BF87-F247-A67F-21096AD9CFD3}" sibTransId="{585B9CB7-8FB4-D94F-979B-A2F34A126751}"/>
    <dgm:cxn modelId="{7299BF99-1417-2849-849C-D1CD85A7418A}" srcId="{FC8E4F8A-67E5-2045-9D5E-3FC794334922}" destId="{2F9F089B-6CDE-3644-A71A-A5129F9689C7}" srcOrd="0" destOrd="0" parTransId="{FC7148B5-AEE4-E04A-B4FB-72A85EF5D940}" sibTransId="{33D93A36-9B60-EC44-9D4A-A7EB8321DFFD}"/>
    <dgm:cxn modelId="{B7B9D5C5-958F-4C10-86AC-AE0F1B41D8EE}" type="presOf" srcId="{2F9F089B-6CDE-3644-A71A-A5129F9689C7}" destId="{FF7A9D10-FC52-814C-BC88-3CB8D987E563}" srcOrd="0" destOrd="0" presId="urn:microsoft.com/office/officeart/2005/8/layout/hierarchy4"/>
    <dgm:cxn modelId="{62384254-86C2-45A5-8973-223DBD0FA00B}" type="presOf" srcId="{D459B528-A2E8-9D40-B9F3-A1953FDF22D7}" destId="{C52D1841-36E2-9D4B-BC9F-A24074B8AAD3}" srcOrd="0" destOrd="0" presId="urn:microsoft.com/office/officeart/2005/8/layout/hierarchy4"/>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F8474AEF-4939-457D-B165-51765C3D3891}" type="presParOf" srcId="{07F2754C-E745-394E-B448-01F146E9A493}" destId="{72BF7568-AE61-D44D-B503-BA1B66CA9BB1}" srcOrd="0" destOrd="0" presId="urn:microsoft.com/office/officeart/2005/8/layout/hierarchy4"/>
    <dgm:cxn modelId="{AAC902A8-A3D6-4CAF-AEF7-62818FCE1BE2}" type="presParOf" srcId="{72BF7568-AE61-D44D-B503-BA1B66CA9BB1}" destId="{FF7A9D10-FC52-814C-BC88-3CB8D987E563}" srcOrd="0" destOrd="0" presId="urn:microsoft.com/office/officeart/2005/8/layout/hierarchy4"/>
    <dgm:cxn modelId="{B2E2CA79-4DBE-42A0-A81D-8A80DBE76378}" type="presParOf" srcId="{72BF7568-AE61-D44D-B503-BA1B66CA9BB1}" destId="{45E330AC-B148-B345-9481-A07AB4710ACD}" srcOrd="1" destOrd="0" presId="urn:microsoft.com/office/officeart/2005/8/layout/hierarchy4"/>
    <dgm:cxn modelId="{10727DC6-18B9-471A-9EC5-FD5A1AE1F762}" type="presParOf" srcId="{07F2754C-E745-394E-B448-01F146E9A493}" destId="{18C604F1-C22A-4E48-89B9-E1871522632F}" srcOrd="1" destOrd="0" presId="urn:microsoft.com/office/officeart/2005/8/layout/hierarchy4"/>
    <dgm:cxn modelId="{3821C6AB-1923-4ADA-9024-A1F21CA2F028}" type="presParOf" srcId="{07F2754C-E745-394E-B448-01F146E9A493}" destId="{4F740ECE-EE3A-3C41-991C-EA6F60703047}" srcOrd="2" destOrd="0" presId="urn:microsoft.com/office/officeart/2005/8/layout/hierarchy4"/>
    <dgm:cxn modelId="{86450FEA-C0C2-4141-A4D1-633703836E9C}" type="presParOf" srcId="{4F740ECE-EE3A-3C41-991C-EA6F60703047}" destId="{A97B6EE3-C913-9249-9BB0-F869F56702F9}" srcOrd="0" destOrd="0" presId="urn:microsoft.com/office/officeart/2005/8/layout/hierarchy4"/>
    <dgm:cxn modelId="{85A2DC80-BFEE-4F41-817D-D85534C921B8}" type="presParOf" srcId="{4F740ECE-EE3A-3C41-991C-EA6F60703047}" destId="{576DEBAB-9492-7148-B255-B69B39AEEFD5}" srcOrd="1" destOrd="0" presId="urn:microsoft.com/office/officeart/2005/8/layout/hierarchy4"/>
    <dgm:cxn modelId="{9B691347-1B9E-463C-9783-51D9AB00C5EA}" type="presParOf" srcId="{07F2754C-E745-394E-B448-01F146E9A493}" destId="{3E3E1513-051B-D747-9578-5157F0BD2606}" srcOrd="3" destOrd="0" presId="urn:microsoft.com/office/officeart/2005/8/layout/hierarchy4"/>
    <dgm:cxn modelId="{3ECE883D-232A-42D5-9CEF-A43D7B516AE4}" type="presParOf" srcId="{07F2754C-E745-394E-B448-01F146E9A493}" destId="{2349EFCC-D6EF-F14F-8F03-59B42D87120C}" srcOrd="4" destOrd="0" presId="urn:microsoft.com/office/officeart/2005/8/layout/hierarchy4"/>
    <dgm:cxn modelId="{627C09D0-1B77-41C4-A473-652E18F2D0F6}" type="presParOf" srcId="{2349EFCC-D6EF-F14F-8F03-59B42D87120C}" destId="{027D962D-2EA5-464F-827D-5FE1D8B618A1}" srcOrd="0" destOrd="0" presId="urn:microsoft.com/office/officeart/2005/8/layout/hierarchy4"/>
    <dgm:cxn modelId="{86CFEE45-E47A-49DF-A65E-FCC55905BD31}" type="presParOf" srcId="{2349EFCC-D6EF-F14F-8F03-59B42D87120C}" destId="{5D52124E-E701-A14E-978B-675C86D7D941}" srcOrd="1" destOrd="0" presId="urn:microsoft.com/office/officeart/2005/8/layout/hierarchy4"/>
    <dgm:cxn modelId="{79EE41AE-9547-4E28-88EE-8CA3B172ECB1}" type="presParOf" srcId="{07F2754C-E745-394E-B448-01F146E9A493}" destId="{93302620-31AB-4744-93E7-EAF6C7A77D6E}" srcOrd="5" destOrd="0" presId="urn:microsoft.com/office/officeart/2005/8/layout/hierarchy4"/>
    <dgm:cxn modelId="{AC457928-4AC0-4D6D-823C-70392A9AE4E6}" type="presParOf" srcId="{07F2754C-E745-394E-B448-01F146E9A493}" destId="{79A592FD-AF06-9642-8007-09D471248D33}" srcOrd="6" destOrd="0" presId="urn:microsoft.com/office/officeart/2005/8/layout/hierarchy4"/>
    <dgm:cxn modelId="{A2079BAE-4B66-4637-9751-FDE92137D0DA}" type="presParOf" srcId="{79A592FD-AF06-9642-8007-09D471248D33}" destId="{D73A2411-5BF3-5048-8FDD-2AA7C8DF38E0}" srcOrd="0" destOrd="0" presId="urn:microsoft.com/office/officeart/2005/8/layout/hierarchy4"/>
    <dgm:cxn modelId="{2674D6A8-B4AE-474A-9E97-B3B65184B690}" type="presParOf" srcId="{79A592FD-AF06-9642-8007-09D471248D33}" destId="{A5B95F44-F627-F14E-A903-667E3E942B16}" srcOrd="1" destOrd="0" presId="urn:microsoft.com/office/officeart/2005/8/layout/hierarchy4"/>
    <dgm:cxn modelId="{AC002D11-A381-4175-9B5D-9C9750CC0FDC}" type="presParOf" srcId="{07F2754C-E745-394E-B448-01F146E9A493}" destId="{236AC1D0-3375-824D-8FDC-0F1798C4046E}" srcOrd="7" destOrd="0" presId="urn:microsoft.com/office/officeart/2005/8/layout/hierarchy4"/>
    <dgm:cxn modelId="{57FE7A49-58DB-4CA2-8002-360CDE5E84FF}" type="presParOf" srcId="{07F2754C-E745-394E-B448-01F146E9A493}" destId="{3E9A3401-CDF7-8E46-87B0-A71177856B62}" srcOrd="8" destOrd="0" presId="urn:microsoft.com/office/officeart/2005/8/layout/hierarchy4"/>
    <dgm:cxn modelId="{AD40A148-3B4D-4A8F-8C18-35497F075E0B}" type="presParOf" srcId="{3E9A3401-CDF7-8E46-87B0-A71177856B62}" destId="{71EFDBA4-FD34-C04D-A343-12FFAAA2219C}" srcOrd="0" destOrd="0" presId="urn:microsoft.com/office/officeart/2005/8/layout/hierarchy4"/>
    <dgm:cxn modelId="{19FF747E-7C4C-4AFA-9FA6-D3484D361C36}" type="presParOf" srcId="{3E9A3401-CDF7-8E46-87B0-A71177856B62}" destId="{500AD90E-E799-0C4E-910B-A97A68C40A9E}" srcOrd="1" destOrd="0" presId="urn:microsoft.com/office/officeart/2005/8/layout/hierarchy4"/>
    <dgm:cxn modelId="{C20F28EA-282B-46CD-97B6-BD7093ADFD63}" type="presParOf" srcId="{07F2754C-E745-394E-B448-01F146E9A493}" destId="{F70D16F5-85BA-F245-851A-4A66C7DF421D}" srcOrd="9" destOrd="0" presId="urn:microsoft.com/office/officeart/2005/8/layout/hierarchy4"/>
    <dgm:cxn modelId="{FDEA3A7C-B4D9-4DA3-B852-FB841D666C91}" type="presParOf" srcId="{07F2754C-E745-394E-B448-01F146E9A493}" destId="{6B050408-9C32-724B-B50B-C759B83C7008}" srcOrd="10" destOrd="0" presId="urn:microsoft.com/office/officeart/2005/8/layout/hierarchy4"/>
    <dgm:cxn modelId="{2105B9C5-6258-4023-ABC8-2E9C9CBB44D4}" type="presParOf" srcId="{6B050408-9C32-724B-B50B-C759B83C7008}" destId="{C52D1841-36E2-9D4B-BC9F-A24074B8AAD3}" srcOrd="0" destOrd="0" presId="urn:microsoft.com/office/officeart/2005/8/layout/hierarchy4"/>
    <dgm:cxn modelId="{A79B959E-FA58-4225-B1B9-88C5D16B71F4}"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YARN</a:t>
          </a:r>
          <a:endParaRPr lang="en-US" sz="1200" b="0" i="0" dirty="0">
            <a:latin typeface="Helvetica Neue Thin" charset="0"/>
            <a:ea typeface="Helvetica Neue Thin" charset="0"/>
            <a:cs typeface="Helvetica Neue Thin" charset="0"/>
          </a:endParaRPr>
        </a:p>
      </dgm:t>
    </dgm:pt>
    <dgm:pt modelId="{FC7148B5-AEE4-E04A-B4FB-72A85EF5D940}" type="par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33D93A36-9B60-EC44-9D4A-A7EB8321DFFD}" type="sib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FB0B53D9-195C-E342-956D-F618DF62762F}">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HBase</a:t>
          </a:r>
          <a:endParaRPr lang="en-US" sz="1200" b="0" i="0" dirty="0">
            <a:latin typeface="Helvetica Neue Thin" charset="0"/>
            <a:ea typeface="Helvetica Neue Thin" charset="0"/>
            <a:cs typeface="Helvetica Neue Thin" charset="0"/>
          </a:endParaRPr>
        </a:p>
      </dgm:t>
    </dgm:pt>
    <dgm:pt modelId="{B5CA3A2B-F6F0-1D4F-9108-A123E5BB82B2}" type="par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A0F1DF69-79A4-5A4A-B4FE-EBD450354025}" type="sib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027B2473-40A2-3B43-B43F-38DEED3C23F6}">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Flume</a:t>
          </a:r>
          <a:endParaRPr lang="en-US" sz="1200" b="0" i="0" dirty="0">
            <a:latin typeface="Helvetica Neue Thin" charset="0"/>
            <a:ea typeface="Helvetica Neue Thin" charset="0"/>
            <a:cs typeface="Helvetica Neue Thin" charset="0"/>
          </a:endParaRPr>
        </a:p>
      </dgm:t>
    </dgm:pt>
    <dgm:pt modelId="{BA77F311-3B04-B247-B68A-70B04552A3DE}" type="par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2091BAEF-6F31-D84F-97CC-2ECF5B035F26}" type="sib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B791BFEE-811F-614D-9E2F-A9E3C1B09519}">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qoop</a:t>
          </a:r>
          <a:endParaRPr lang="en-US" sz="1200" b="0" i="0" dirty="0">
            <a:latin typeface="Helvetica Neue Thin" charset="0"/>
            <a:ea typeface="Helvetica Neue Thin" charset="0"/>
            <a:cs typeface="Helvetica Neue Thin" charset="0"/>
          </a:endParaRPr>
        </a:p>
      </dgm:t>
    </dgm:pt>
    <dgm:pt modelId="{61DC409F-BF87-F247-A67F-21096AD9CFD3}" type="par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585B9CB7-8FB4-D94F-979B-A2F34A126751}" type="sib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D459B528-A2E8-9D40-B9F3-A1953FDF22D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olr / Lucene</a:t>
          </a:r>
          <a:endParaRPr lang="en-US" sz="1200" b="0" i="0" dirty="0">
            <a:latin typeface="Helvetica Neue Thin" charset="0"/>
            <a:ea typeface="Helvetica Neue Thin" charset="0"/>
            <a:cs typeface="Helvetica Neue Thin" charset="0"/>
          </a:endParaRPr>
        </a:p>
      </dgm:t>
    </dgm:pt>
    <dgm:pt modelId="{D4349E50-BD21-A443-89BC-5D8432335ADC}" type="par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1EB380D0-5C93-FD4B-AEC0-2890B45444BD}" type="sib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E3485FBA-95F2-054A-AEC2-229E0DA3A15E}">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Ambari</a:t>
          </a:r>
          <a:endParaRPr lang="en-US" sz="1200" b="0" i="0" dirty="0">
            <a:latin typeface="Helvetica Neue Thin" charset="0"/>
            <a:ea typeface="Helvetica Neue Thin" charset="0"/>
            <a:cs typeface="Helvetica Neue Thin" charset="0"/>
          </a:endParaRPr>
        </a:p>
      </dgm:t>
    </dgm:pt>
    <dgm:pt modelId="{12E1C44F-7698-124D-8B08-8F60057B054D}" type="par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2AC2EF0C-2EE3-6640-A796-8994BF99D979}" type="sib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ADF2259C-A0DF-4B21-A0A0-1A39670D8704}" type="presOf" srcId="{B791BFEE-811F-614D-9E2F-A9E3C1B09519}" destId="{71EFDBA4-FD34-C04D-A343-12FFAAA2219C}" srcOrd="0" destOrd="0" presId="urn:microsoft.com/office/officeart/2005/8/layout/hierarchy4"/>
    <dgm:cxn modelId="{6E26C7A9-8252-4F95-A5DD-01827BBC4205}" type="presOf" srcId="{027B2473-40A2-3B43-B43F-38DEED3C23F6}" destId="{D73A2411-5BF3-5048-8FDD-2AA7C8DF38E0}"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9848C808-A6C5-4FEF-8A7B-E20020CF35CA}" type="presOf" srcId="{E3485FBA-95F2-054A-AEC2-229E0DA3A15E}" destId="{A97B6EE3-C913-9249-9BB0-F869F56702F9}" srcOrd="0" destOrd="0" presId="urn:microsoft.com/office/officeart/2005/8/layout/hierarchy4"/>
    <dgm:cxn modelId="{E32A4819-DA2E-2F47-A2F5-682D672333AE}" srcId="{FC8E4F8A-67E5-2045-9D5E-3FC794334922}" destId="{027B2473-40A2-3B43-B43F-38DEED3C23F6}" srcOrd="3" destOrd="0" parTransId="{BA77F311-3B04-B247-B68A-70B04552A3DE}" sibTransId="{2091BAEF-6F31-D84F-97CC-2ECF5B035F26}"/>
    <dgm:cxn modelId="{A41401DD-36A3-40AA-8DB5-0A3D9BEC0E1B}" type="presOf" srcId="{FC8E4F8A-67E5-2045-9D5E-3FC794334922}" destId="{07F2754C-E745-394E-B448-01F146E9A493}" srcOrd="0" destOrd="0" presId="urn:microsoft.com/office/officeart/2005/8/layout/hierarchy4"/>
    <dgm:cxn modelId="{F3F1EDB6-2691-4C69-A0F5-3B2C7ECE2821}" type="presOf" srcId="{2F9F089B-6CDE-3644-A71A-A5129F9689C7}" destId="{FF7A9D10-FC52-814C-BC88-3CB8D987E563}" srcOrd="0" destOrd="0" presId="urn:microsoft.com/office/officeart/2005/8/layout/hierarchy4"/>
    <dgm:cxn modelId="{EBE28BA0-EFBE-6E4F-B4BB-288E02289E0D}" srcId="{FC8E4F8A-67E5-2045-9D5E-3FC794334922}" destId="{B791BFEE-811F-614D-9E2F-A9E3C1B09519}" srcOrd="4" destOrd="0" parTransId="{61DC409F-BF87-F247-A67F-21096AD9CFD3}" sibTransId="{585B9CB7-8FB4-D94F-979B-A2F34A126751}"/>
    <dgm:cxn modelId="{7B7936C9-EE18-6641-B47C-71C825F154DB}" srcId="{FC8E4F8A-67E5-2045-9D5E-3FC794334922}" destId="{FB0B53D9-195C-E342-956D-F618DF62762F}" srcOrd="2" destOrd="0" parTransId="{B5CA3A2B-F6F0-1D4F-9108-A123E5BB82B2}" sibTransId="{A0F1DF69-79A4-5A4A-B4FE-EBD450354025}"/>
    <dgm:cxn modelId="{D5A212E3-513B-5C4C-978D-179B0697EB27}" srcId="{FC8E4F8A-67E5-2045-9D5E-3FC794334922}" destId="{E3485FBA-95F2-054A-AEC2-229E0DA3A15E}" srcOrd="1" destOrd="0" parTransId="{12E1C44F-7698-124D-8B08-8F60057B054D}" sibTransId="{2AC2EF0C-2EE3-6640-A796-8994BF99D979}"/>
    <dgm:cxn modelId="{45F4A96C-BEA0-4809-8DD9-51E70F49B5BC}" type="presOf" srcId="{D459B528-A2E8-9D40-B9F3-A1953FDF22D7}" destId="{C52D1841-36E2-9D4B-BC9F-A24074B8AAD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4F83DFCD-124A-4B51-B842-D0A183E3198F}" type="presOf" srcId="{FB0B53D9-195C-E342-956D-F618DF62762F}" destId="{027D962D-2EA5-464F-827D-5FE1D8B618A1}" srcOrd="0" destOrd="0" presId="urn:microsoft.com/office/officeart/2005/8/layout/hierarchy4"/>
    <dgm:cxn modelId="{11049547-80BC-408C-8546-E22766A0D67A}" type="presParOf" srcId="{07F2754C-E745-394E-B448-01F146E9A493}" destId="{72BF7568-AE61-D44D-B503-BA1B66CA9BB1}" srcOrd="0" destOrd="0" presId="urn:microsoft.com/office/officeart/2005/8/layout/hierarchy4"/>
    <dgm:cxn modelId="{AEAEE870-4DAF-4FEA-A2E5-9C23655F5D25}" type="presParOf" srcId="{72BF7568-AE61-D44D-B503-BA1B66CA9BB1}" destId="{FF7A9D10-FC52-814C-BC88-3CB8D987E563}" srcOrd="0" destOrd="0" presId="urn:microsoft.com/office/officeart/2005/8/layout/hierarchy4"/>
    <dgm:cxn modelId="{9C0D05E5-9EA7-4948-BF06-7DC45D53936A}" type="presParOf" srcId="{72BF7568-AE61-D44D-B503-BA1B66CA9BB1}" destId="{45E330AC-B148-B345-9481-A07AB4710ACD}" srcOrd="1" destOrd="0" presId="urn:microsoft.com/office/officeart/2005/8/layout/hierarchy4"/>
    <dgm:cxn modelId="{5FEC1C89-73C2-4C66-B2D2-379C2485122B}" type="presParOf" srcId="{07F2754C-E745-394E-B448-01F146E9A493}" destId="{18C604F1-C22A-4E48-89B9-E1871522632F}" srcOrd="1" destOrd="0" presId="urn:microsoft.com/office/officeart/2005/8/layout/hierarchy4"/>
    <dgm:cxn modelId="{66C525CC-42CB-4494-B6A5-2D88801DEE01}" type="presParOf" srcId="{07F2754C-E745-394E-B448-01F146E9A493}" destId="{4F740ECE-EE3A-3C41-991C-EA6F60703047}" srcOrd="2" destOrd="0" presId="urn:microsoft.com/office/officeart/2005/8/layout/hierarchy4"/>
    <dgm:cxn modelId="{660987C2-1FDA-45CF-BB50-1F296B4BCA6D}" type="presParOf" srcId="{4F740ECE-EE3A-3C41-991C-EA6F60703047}" destId="{A97B6EE3-C913-9249-9BB0-F869F56702F9}" srcOrd="0" destOrd="0" presId="urn:microsoft.com/office/officeart/2005/8/layout/hierarchy4"/>
    <dgm:cxn modelId="{4FC35259-2B72-474B-ABA6-A93FC02FDB6E}" type="presParOf" srcId="{4F740ECE-EE3A-3C41-991C-EA6F60703047}" destId="{576DEBAB-9492-7148-B255-B69B39AEEFD5}" srcOrd="1" destOrd="0" presId="urn:microsoft.com/office/officeart/2005/8/layout/hierarchy4"/>
    <dgm:cxn modelId="{8E3CFF69-0788-42E3-A4C7-2CD7B2BC19FA}" type="presParOf" srcId="{07F2754C-E745-394E-B448-01F146E9A493}" destId="{3E3E1513-051B-D747-9578-5157F0BD2606}" srcOrd="3" destOrd="0" presId="urn:microsoft.com/office/officeart/2005/8/layout/hierarchy4"/>
    <dgm:cxn modelId="{948C1E91-AD30-4832-ABAD-E3FBE5397AD0}" type="presParOf" srcId="{07F2754C-E745-394E-B448-01F146E9A493}" destId="{2349EFCC-D6EF-F14F-8F03-59B42D87120C}" srcOrd="4" destOrd="0" presId="urn:microsoft.com/office/officeart/2005/8/layout/hierarchy4"/>
    <dgm:cxn modelId="{FB447A96-2EB9-4FCE-A743-CF97ED73EF4D}" type="presParOf" srcId="{2349EFCC-D6EF-F14F-8F03-59B42D87120C}" destId="{027D962D-2EA5-464F-827D-5FE1D8B618A1}" srcOrd="0" destOrd="0" presId="urn:microsoft.com/office/officeart/2005/8/layout/hierarchy4"/>
    <dgm:cxn modelId="{48FCC733-04D5-4245-9F1B-DE4DDDBCD9E6}" type="presParOf" srcId="{2349EFCC-D6EF-F14F-8F03-59B42D87120C}" destId="{5D52124E-E701-A14E-978B-675C86D7D941}" srcOrd="1" destOrd="0" presId="urn:microsoft.com/office/officeart/2005/8/layout/hierarchy4"/>
    <dgm:cxn modelId="{3712F6F7-40A9-4C13-B0C5-54A551B44F94}" type="presParOf" srcId="{07F2754C-E745-394E-B448-01F146E9A493}" destId="{93302620-31AB-4744-93E7-EAF6C7A77D6E}" srcOrd="5" destOrd="0" presId="urn:microsoft.com/office/officeart/2005/8/layout/hierarchy4"/>
    <dgm:cxn modelId="{41C7966A-1694-4722-B15A-F746854691C9}" type="presParOf" srcId="{07F2754C-E745-394E-B448-01F146E9A493}" destId="{79A592FD-AF06-9642-8007-09D471248D33}" srcOrd="6" destOrd="0" presId="urn:microsoft.com/office/officeart/2005/8/layout/hierarchy4"/>
    <dgm:cxn modelId="{64DBB324-1F12-4E8D-83DB-532D90065388}" type="presParOf" srcId="{79A592FD-AF06-9642-8007-09D471248D33}" destId="{D73A2411-5BF3-5048-8FDD-2AA7C8DF38E0}" srcOrd="0" destOrd="0" presId="urn:microsoft.com/office/officeart/2005/8/layout/hierarchy4"/>
    <dgm:cxn modelId="{F330D603-B8F4-40B5-9EA1-F5CC6808B72D}" type="presParOf" srcId="{79A592FD-AF06-9642-8007-09D471248D33}" destId="{A5B95F44-F627-F14E-A903-667E3E942B16}" srcOrd="1" destOrd="0" presId="urn:microsoft.com/office/officeart/2005/8/layout/hierarchy4"/>
    <dgm:cxn modelId="{7F280C15-0095-480A-A7E5-C7E8EC7CA8BF}" type="presParOf" srcId="{07F2754C-E745-394E-B448-01F146E9A493}" destId="{236AC1D0-3375-824D-8FDC-0F1798C4046E}" srcOrd="7" destOrd="0" presId="urn:microsoft.com/office/officeart/2005/8/layout/hierarchy4"/>
    <dgm:cxn modelId="{3F8E3A95-68BE-457C-B475-E120FC5CECA4}" type="presParOf" srcId="{07F2754C-E745-394E-B448-01F146E9A493}" destId="{3E9A3401-CDF7-8E46-87B0-A71177856B62}" srcOrd="8" destOrd="0" presId="urn:microsoft.com/office/officeart/2005/8/layout/hierarchy4"/>
    <dgm:cxn modelId="{D14AB75D-499E-4F36-A7BB-B32000AEF5D4}" type="presParOf" srcId="{3E9A3401-CDF7-8E46-87B0-A71177856B62}" destId="{71EFDBA4-FD34-C04D-A343-12FFAAA2219C}" srcOrd="0" destOrd="0" presId="urn:microsoft.com/office/officeart/2005/8/layout/hierarchy4"/>
    <dgm:cxn modelId="{01C10619-535A-4707-81C1-DDABFA9E52CB}" type="presParOf" srcId="{3E9A3401-CDF7-8E46-87B0-A71177856B62}" destId="{500AD90E-E799-0C4E-910B-A97A68C40A9E}" srcOrd="1" destOrd="0" presId="urn:microsoft.com/office/officeart/2005/8/layout/hierarchy4"/>
    <dgm:cxn modelId="{669A7193-4389-406A-9126-26EB849DE3B7}" type="presParOf" srcId="{07F2754C-E745-394E-B448-01F146E9A493}" destId="{F70D16F5-85BA-F245-851A-4A66C7DF421D}" srcOrd="9" destOrd="0" presId="urn:microsoft.com/office/officeart/2005/8/layout/hierarchy4"/>
    <dgm:cxn modelId="{E96B9C7F-162A-4B57-A7FD-5B05A12FBF2A}" type="presParOf" srcId="{07F2754C-E745-394E-B448-01F146E9A493}" destId="{6B050408-9C32-724B-B50B-C759B83C7008}" srcOrd="10" destOrd="0" presId="urn:microsoft.com/office/officeart/2005/8/layout/hierarchy4"/>
    <dgm:cxn modelId="{4FED16E5-D173-4C1C-B085-E18EEF1FE1E2}" type="presParOf" srcId="{6B050408-9C32-724B-B50B-C759B83C7008}" destId="{C52D1841-36E2-9D4B-BC9F-A24074B8AAD3}" srcOrd="0" destOrd="0" presId="urn:microsoft.com/office/officeart/2005/8/layout/hierarchy4"/>
    <dgm:cxn modelId="{182A6106-C14E-4534-9E37-C17A5FCEB309}"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Lst>
  <dgm:cxnLst>
    <dgm:cxn modelId="{05C44D16-F31B-4EDD-AA40-73E733F26458}" type="presOf" srcId="{FC8E4F8A-67E5-2045-9D5E-3FC794334922}" destId="{07F2754C-E745-394E-B448-01F146E9A493}" srcOrd="0" destOrd="0" presId="urn:microsoft.com/office/officeart/2005/8/layout/hierarchy4"/>
  </dgm:cxnLst>
  <dgm:bg>
    <a:noFill/>
  </dgm:bg>
  <dgm:whole/>
  <dgm:extLst>
    <a:ext uri="http://schemas.microsoft.com/office/drawing/2008/diagram">
      <dsp:dataModelExt xmlns:dsp="http://schemas.microsoft.com/office/drawing/2008/diagram" relId="rId1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DC07205-FF94-448F-841A-40256B6B0AA8}" type="doc">
      <dgm:prSet loTypeId="urn:microsoft.com/office/officeart/2005/8/layout/hProcess9" loCatId="process" qsTypeId="urn:microsoft.com/office/officeart/2005/8/quickstyle/simple1" qsCatId="simple" csTypeId="urn:microsoft.com/office/officeart/2005/8/colors/accent1_2" csCatId="accent1" phldr="1"/>
      <dgm:spPr/>
    </dgm:pt>
    <dgm:pt modelId="{529D409C-BE70-4041-9507-3E8E5F75C354}">
      <dgm:prSet phldrT="[Text]"/>
      <dgm:spPr/>
      <dgm:t>
        <a:bodyPr/>
        <a:lstStyle/>
        <a:p>
          <a:r>
            <a:rPr lang="en-US" dirty="0" smtClean="0"/>
            <a:t>Emerging Technology</a:t>
          </a:r>
          <a:endParaRPr lang="en-US" dirty="0"/>
        </a:p>
      </dgm:t>
    </dgm:pt>
    <dgm:pt modelId="{AE72D484-9259-4330-8580-20F43B45D471}" type="parTrans" cxnId="{117EF97F-4F93-4626-8390-B82873F62B29}">
      <dgm:prSet/>
      <dgm:spPr/>
      <dgm:t>
        <a:bodyPr/>
        <a:lstStyle/>
        <a:p>
          <a:endParaRPr lang="en-US"/>
        </a:p>
      </dgm:t>
    </dgm:pt>
    <dgm:pt modelId="{C82912E7-D448-4211-8E15-53B6711DA703}" type="sibTrans" cxnId="{117EF97F-4F93-4626-8390-B82873F62B29}">
      <dgm:prSet/>
      <dgm:spPr/>
      <dgm:t>
        <a:bodyPr/>
        <a:lstStyle/>
        <a:p>
          <a:endParaRPr lang="en-US"/>
        </a:p>
      </dgm:t>
    </dgm:pt>
    <dgm:pt modelId="{88F5D3C4-07D3-4510-8B03-325A7231B70A}">
      <dgm:prSet phldrT="[Text]"/>
      <dgm:spPr/>
      <dgm:t>
        <a:bodyPr/>
        <a:lstStyle/>
        <a:p>
          <a:r>
            <a:rPr lang="en-US" dirty="0" smtClean="0"/>
            <a:t>Board room</a:t>
          </a:r>
          <a:endParaRPr lang="en-US" dirty="0"/>
        </a:p>
      </dgm:t>
    </dgm:pt>
    <dgm:pt modelId="{261FDADC-B372-4D16-A4EA-3C8D9332AFA8}" type="parTrans" cxnId="{A4DF8AF5-60E8-4FE1-BF7A-E4E10E13E2D2}">
      <dgm:prSet/>
      <dgm:spPr/>
      <dgm:t>
        <a:bodyPr/>
        <a:lstStyle/>
        <a:p>
          <a:endParaRPr lang="en-US"/>
        </a:p>
      </dgm:t>
    </dgm:pt>
    <dgm:pt modelId="{EC64B5F2-6FC8-431C-9B8B-47C177253377}" type="sibTrans" cxnId="{A4DF8AF5-60E8-4FE1-BF7A-E4E10E13E2D2}">
      <dgm:prSet/>
      <dgm:spPr/>
      <dgm:t>
        <a:bodyPr/>
        <a:lstStyle/>
        <a:p>
          <a:endParaRPr lang="en-US"/>
        </a:p>
      </dgm:t>
    </dgm:pt>
    <dgm:pt modelId="{6380F2B6-E1DB-4FCE-8A69-65CAEF0C9BC5}" type="pres">
      <dgm:prSet presAssocID="{1DC07205-FF94-448F-841A-40256B6B0AA8}" presName="CompostProcess" presStyleCnt="0">
        <dgm:presLayoutVars>
          <dgm:dir/>
          <dgm:resizeHandles val="exact"/>
        </dgm:presLayoutVars>
      </dgm:prSet>
      <dgm:spPr/>
    </dgm:pt>
    <dgm:pt modelId="{B5D6766C-2B5D-4D09-90DF-385E36E6C57D}" type="pres">
      <dgm:prSet presAssocID="{1DC07205-FF94-448F-841A-40256B6B0AA8}" presName="arrow" presStyleLbl="bgShp" presStyleIdx="0" presStyleCnt="1"/>
      <dgm:spPr/>
    </dgm:pt>
    <dgm:pt modelId="{81AD5117-64C7-4E5B-9C8D-013E26A482A1}" type="pres">
      <dgm:prSet presAssocID="{1DC07205-FF94-448F-841A-40256B6B0AA8}" presName="linearProcess" presStyleCnt="0"/>
      <dgm:spPr/>
    </dgm:pt>
    <dgm:pt modelId="{9504D84C-DEDF-4E9D-BE73-5643666E8F40}" type="pres">
      <dgm:prSet presAssocID="{529D409C-BE70-4041-9507-3E8E5F75C354}" presName="textNode" presStyleLbl="node1" presStyleIdx="0" presStyleCnt="2">
        <dgm:presLayoutVars>
          <dgm:bulletEnabled val="1"/>
        </dgm:presLayoutVars>
      </dgm:prSet>
      <dgm:spPr/>
      <dgm:t>
        <a:bodyPr/>
        <a:lstStyle/>
        <a:p>
          <a:endParaRPr lang="en-US"/>
        </a:p>
      </dgm:t>
    </dgm:pt>
    <dgm:pt modelId="{44EE2698-A758-4AFE-8651-A01FD31C3655}" type="pres">
      <dgm:prSet presAssocID="{C82912E7-D448-4211-8E15-53B6711DA703}" presName="sibTrans" presStyleCnt="0"/>
      <dgm:spPr/>
    </dgm:pt>
    <dgm:pt modelId="{BBC9E803-8988-45AA-85F7-D9343FC7AEE5}" type="pres">
      <dgm:prSet presAssocID="{88F5D3C4-07D3-4510-8B03-325A7231B70A}" presName="textNode" presStyleLbl="node1" presStyleIdx="1" presStyleCnt="2">
        <dgm:presLayoutVars>
          <dgm:bulletEnabled val="1"/>
        </dgm:presLayoutVars>
      </dgm:prSet>
      <dgm:spPr/>
      <dgm:t>
        <a:bodyPr/>
        <a:lstStyle/>
        <a:p>
          <a:endParaRPr lang="en-US"/>
        </a:p>
      </dgm:t>
    </dgm:pt>
  </dgm:ptLst>
  <dgm:cxnLst>
    <dgm:cxn modelId="{A4DF8AF5-60E8-4FE1-BF7A-E4E10E13E2D2}" srcId="{1DC07205-FF94-448F-841A-40256B6B0AA8}" destId="{88F5D3C4-07D3-4510-8B03-325A7231B70A}" srcOrd="1" destOrd="0" parTransId="{261FDADC-B372-4D16-A4EA-3C8D9332AFA8}" sibTransId="{EC64B5F2-6FC8-431C-9B8B-47C177253377}"/>
    <dgm:cxn modelId="{7BB37B3F-781E-4678-B444-96194FE61F08}" type="presOf" srcId="{88F5D3C4-07D3-4510-8B03-325A7231B70A}" destId="{BBC9E803-8988-45AA-85F7-D9343FC7AEE5}" srcOrd="0" destOrd="0" presId="urn:microsoft.com/office/officeart/2005/8/layout/hProcess9"/>
    <dgm:cxn modelId="{59E3BE40-D7CA-4B4D-93DF-59030227C79B}" type="presOf" srcId="{1DC07205-FF94-448F-841A-40256B6B0AA8}" destId="{6380F2B6-E1DB-4FCE-8A69-65CAEF0C9BC5}" srcOrd="0" destOrd="0" presId="urn:microsoft.com/office/officeart/2005/8/layout/hProcess9"/>
    <dgm:cxn modelId="{7EA8FD0C-E368-46FC-8AD8-5A121332A867}" type="presOf" srcId="{529D409C-BE70-4041-9507-3E8E5F75C354}" destId="{9504D84C-DEDF-4E9D-BE73-5643666E8F40}" srcOrd="0" destOrd="0" presId="urn:microsoft.com/office/officeart/2005/8/layout/hProcess9"/>
    <dgm:cxn modelId="{117EF97F-4F93-4626-8390-B82873F62B29}" srcId="{1DC07205-FF94-448F-841A-40256B6B0AA8}" destId="{529D409C-BE70-4041-9507-3E8E5F75C354}" srcOrd="0" destOrd="0" parTransId="{AE72D484-9259-4330-8580-20F43B45D471}" sibTransId="{C82912E7-D448-4211-8E15-53B6711DA703}"/>
    <dgm:cxn modelId="{0A219E63-0A7D-4263-8F53-1B05526EBEEC}" type="presParOf" srcId="{6380F2B6-E1DB-4FCE-8A69-65CAEF0C9BC5}" destId="{B5D6766C-2B5D-4D09-90DF-385E36E6C57D}" srcOrd="0" destOrd="0" presId="urn:microsoft.com/office/officeart/2005/8/layout/hProcess9"/>
    <dgm:cxn modelId="{3A8DC4EC-A1B8-4306-9A4C-073E59690607}" type="presParOf" srcId="{6380F2B6-E1DB-4FCE-8A69-65CAEF0C9BC5}" destId="{81AD5117-64C7-4E5B-9C8D-013E26A482A1}" srcOrd="1" destOrd="0" presId="urn:microsoft.com/office/officeart/2005/8/layout/hProcess9"/>
    <dgm:cxn modelId="{7E266C63-7138-480E-9199-7007FE5D2CCE}" type="presParOf" srcId="{81AD5117-64C7-4E5B-9C8D-013E26A482A1}" destId="{9504D84C-DEDF-4E9D-BE73-5643666E8F40}" srcOrd="0" destOrd="0" presId="urn:microsoft.com/office/officeart/2005/8/layout/hProcess9"/>
    <dgm:cxn modelId="{F0916824-5104-4631-AFE2-286448858FFC}" type="presParOf" srcId="{81AD5117-64C7-4E5B-9C8D-013E26A482A1}" destId="{44EE2698-A758-4AFE-8651-A01FD31C3655}" srcOrd="1" destOrd="0" presId="urn:microsoft.com/office/officeart/2005/8/layout/hProcess9"/>
    <dgm:cxn modelId="{EAA8FDD3-5C70-4ED6-A5E7-919A903B61FE}" type="presParOf" srcId="{81AD5117-64C7-4E5B-9C8D-013E26A482A1}" destId="{BBC9E803-8988-45AA-85F7-D9343FC7AEE5}" srcOrd="2" destOrd="0" presId="urn:microsoft.com/office/officeart/2005/8/layout/hProcess9"/>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Sheets</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9495A53-B1A4-E54A-BDED-90569695457E}" srcId="{FC8E4F8A-67E5-2045-9D5E-3FC794334922}" destId="{D459B528-A2E8-9D40-B9F3-A1953FDF22D7}" srcOrd="6" destOrd="0" parTransId="{D4349E50-BD21-A443-89BC-5D8432335ADC}" sibTransId="{1EB380D0-5C93-FD4B-AEC0-2890B45444BD}"/>
    <dgm:cxn modelId="{FC745CC1-78EC-4683-9C13-655F83F929FC}" type="presOf" srcId="{D459B528-A2E8-9D40-B9F3-A1953FDF22D7}" destId="{C52D1841-36E2-9D4B-BC9F-A24074B8AAD3}" srcOrd="0" destOrd="0" presId="urn:microsoft.com/office/officeart/2005/8/layout/hierarchy4"/>
    <dgm:cxn modelId="{459333A1-76FB-7240-A9C0-38963D44CF8B}" srcId="{FC8E4F8A-67E5-2045-9D5E-3FC794334922}" destId="{40BD6C83-8F9F-5A4F-9687-09C767822952}" srcOrd="1" destOrd="0" parTransId="{A5D03699-D068-F54C-826D-09B305F306A4}" sibTransId="{AFC67590-308D-5B41-84B9-2376F08D1780}"/>
    <dgm:cxn modelId="{4360F0AA-B465-435E-B73F-0094A5041CAF}" type="presOf" srcId="{2F9F089B-6CDE-3644-A71A-A5129F9689C7}" destId="{FF7A9D10-FC52-814C-BC88-3CB8D987E563}" srcOrd="0" destOrd="0" presId="urn:microsoft.com/office/officeart/2005/8/layout/hierarchy4"/>
    <dgm:cxn modelId="{BC4DA929-F05F-415F-A1C1-B7F75288CF5D}" type="presOf" srcId="{FB0B53D9-195C-E342-956D-F618DF62762F}" destId="{027D962D-2EA5-464F-827D-5FE1D8B618A1}" srcOrd="0" destOrd="0" presId="urn:microsoft.com/office/officeart/2005/8/layout/hierarchy4"/>
    <dgm:cxn modelId="{843263D5-DF4E-4584-BFBD-139F42D16EEC}" type="presOf" srcId="{E3485FBA-95F2-054A-AEC2-229E0DA3A15E}" destId="{A97B6EE3-C913-9249-9BB0-F869F56702F9}" srcOrd="0" destOrd="0" presId="urn:microsoft.com/office/officeart/2005/8/layout/hierarchy4"/>
    <dgm:cxn modelId="{912625F3-DC0C-494C-8029-A58291FEBEEE}" type="presOf" srcId="{FC8E4F8A-67E5-2045-9D5E-3FC794334922}" destId="{07F2754C-E745-394E-B448-01F146E9A493}" srcOrd="0" destOrd="0" presId="urn:microsoft.com/office/officeart/2005/8/layout/hierarchy4"/>
    <dgm:cxn modelId="{7B7936C9-EE18-6641-B47C-71C825F154DB}" srcId="{FC8E4F8A-67E5-2045-9D5E-3FC794334922}" destId="{FB0B53D9-195C-E342-956D-F618DF62762F}" srcOrd="3" destOrd="0" parTransId="{B5CA3A2B-F6F0-1D4F-9108-A123E5BB82B2}" sibTransId="{A0F1DF69-79A4-5A4A-B4FE-EBD450354025}"/>
    <dgm:cxn modelId="{EBE28BA0-EFBE-6E4F-B4BB-288E02289E0D}" srcId="{FC8E4F8A-67E5-2045-9D5E-3FC794334922}" destId="{B791BFEE-811F-614D-9E2F-A9E3C1B09519}" srcOrd="5" destOrd="0" parTransId="{61DC409F-BF87-F247-A67F-21096AD9CFD3}" sibTransId="{585B9CB7-8FB4-D94F-979B-A2F34A126751}"/>
    <dgm:cxn modelId="{60010D80-4225-45E4-A221-041893A5BCCC}" type="presOf" srcId="{027B2473-40A2-3B43-B43F-38DEED3C23F6}" destId="{D73A2411-5BF3-5048-8FDD-2AA7C8DF38E0}"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9723116A-9E70-47B0-9CF8-3ECFFFD64246}" type="presOf" srcId="{40BD6C83-8F9F-5A4F-9687-09C767822952}" destId="{97B909D6-A9F8-ED48-8A1A-010B75477D74}" srcOrd="0" destOrd="0" presId="urn:microsoft.com/office/officeart/2005/8/layout/hierarchy4"/>
    <dgm:cxn modelId="{D5A212E3-513B-5C4C-978D-179B0697EB27}" srcId="{FC8E4F8A-67E5-2045-9D5E-3FC794334922}" destId="{E3485FBA-95F2-054A-AEC2-229E0DA3A15E}" srcOrd="2" destOrd="0" parTransId="{12E1C44F-7698-124D-8B08-8F60057B054D}" sibTransId="{2AC2EF0C-2EE3-6640-A796-8994BF99D979}"/>
    <dgm:cxn modelId="{F6A44DD6-FAA9-4457-B672-DCFDF6D2C162}" type="presOf" srcId="{B791BFEE-811F-614D-9E2F-A9E3C1B09519}" destId="{71EFDBA4-FD34-C04D-A343-12FFAAA2219C}" srcOrd="0" destOrd="0" presId="urn:microsoft.com/office/officeart/2005/8/layout/hierarchy4"/>
    <dgm:cxn modelId="{E32A4819-DA2E-2F47-A2F5-682D672333AE}" srcId="{FC8E4F8A-67E5-2045-9D5E-3FC794334922}" destId="{027B2473-40A2-3B43-B43F-38DEED3C23F6}" srcOrd="4" destOrd="0" parTransId="{BA77F311-3B04-B247-B68A-70B04552A3DE}" sibTransId="{2091BAEF-6F31-D84F-97CC-2ECF5B035F26}"/>
    <dgm:cxn modelId="{FB15DD90-45F1-4E53-8D26-14C474635FB3}" type="presParOf" srcId="{07F2754C-E745-394E-B448-01F146E9A493}" destId="{72BF7568-AE61-D44D-B503-BA1B66CA9BB1}" srcOrd="0" destOrd="0" presId="urn:microsoft.com/office/officeart/2005/8/layout/hierarchy4"/>
    <dgm:cxn modelId="{24C19B23-5175-43DD-BACB-53B0D5BFE0E9}" type="presParOf" srcId="{72BF7568-AE61-D44D-B503-BA1B66CA9BB1}" destId="{FF7A9D10-FC52-814C-BC88-3CB8D987E563}" srcOrd="0" destOrd="0" presId="urn:microsoft.com/office/officeart/2005/8/layout/hierarchy4"/>
    <dgm:cxn modelId="{28F9928A-E4F8-48F2-B03D-02C358C6F8C6}" type="presParOf" srcId="{72BF7568-AE61-D44D-B503-BA1B66CA9BB1}" destId="{45E330AC-B148-B345-9481-A07AB4710ACD}" srcOrd="1" destOrd="0" presId="urn:microsoft.com/office/officeart/2005/8/layout/hierarchy4"/>
    <dgm:cxn modelId="{F402A00A-32D6-4C4D-AD16-6EB520DEDC6C}" type="presParOf" srcId="{07F2754C-E745-394E-B448-01F146E9A493}" destId="{18C604F1-C22A-4E48-89B9-E1871522632F}" srcOrd="1" destOrd="0" presId="urn:microsoft.com/office/officeart/2005/8/layout/hierarchy4"/>
    <dgm:cxn modelId="{7BDDC810-D347-4CDC-9729-9B1A78A83C1B}" type="presParOf" srcId="{07F2754C-E745-394E-B448-01F146E9A493}" destId="{1211B795-63B4-6D42-83DC-8DE364644B0A}" srcOrd="2" destOrd="0" presId="urn:microsoft.com/office/officeart/2005/8/layout/hierarchy4"/>
    <dgm:cxn modelId="{A1CB3DB6-12CC-42F2-A49A-C9820A7B3D57}" type="presParOf" srcId="{1211B795-63B4-6D42-83DC-8DE364644B0A}" destId="{97B909D6-A9F8-ED48-8A1A-010B75477D74}" srcOrd="0" destOrd="0" presId="urn:microsoft.com/office/officeart/2005/8/layout/hierarchy4"/>
    <dgm:cxn modelId="{00FCCE0D-CD38-468D-91AB-1E342D8FCA53}" type="presParOf" srcId="{1211B795-63B4-6D42-83DC-8DE364644B0A}" destId="{E81ECE34-0A05-A84B-BC4B-0F895A797FB2}" srcOrd="1" destOrd="0" presId="urn:microsoft.com/office/officeart/2005/8/layout/hierarchy4"/>
    <dgm:cxn modelId="{18F9AAC5-1DF5-4027-BCA7-5D480B9B1272}" type="presParOf" srcId="{07F2754C-E745-394E-B448-01F146E9A493}" destId="{C2811CAA-C3FE-204F-B5D5-68D40BF1F1E7}" srcOrd="3" destOrd="0" presId="urn:microsoft.com/office/officeart/2005/8/layout/hierarchy4"/>
    <dgm:cxn modelId="{07DEEBC2-EA10-463B-B5E3-E463BF337FDF}" type="presParOf" srcId="{07F2754C-E745-394E-B448-01F146E9A493}" destId="{4F740ECE-EE3A-3C41-991C-EA6F60703047}" srcOrd="4" destOrd="0" presId="urn:microsoft.com/office/officeart/2005/8/layout/hierarchy4"/>
    <dgm:cxn modelId="{247F540A-5937-4524-91B0-1890069673DA}" type="presParOf" srcId="{4F740ECE-EE3A-3C41-991C-EA6F60703047}" destId="{A97B6EE3-C913-9249-9BB0-F869F56702F9}" srcOrd="0" destOrd="0" presId="urn:microsoft.com/office/officeart/2005/8/layout/hierarchy4"/>
    <dgm:cxn modelId="{5A59749B-A429-4CA3-89A3-4186DF47E574}" type="presParOf" srcId="{4F740ECE-EE3A-3C41-991C-EA6F60703047}" destId="{576DEBAB-9492-7148-B255-B69B39AEEFD5}" srcOrd="1" destOrd="0" presId="urn:microsoft.com/office/officeart/2005/8/layout/hierarchy4"/>
    <dgm:cxn modelId="{0B5C6935-8A42-469C-92F2-DF0635903279}" type="presParOf" srcId="{07F2754C-E745-394E-B448-01F146E9A493}" destId="{3E3E1513-051B-D747-9578-5157F0BD2606}" srcOrd="5" destOrd="0" presId="urn:microsoft.com/office/officeart/2005/8/layout/hierarchy4"/>
    <dgm:cxn modelId="{43C24E34-8B12-43F8-8788-0680B3A66913}" type="presParOf" srcId="{07F2754C-E745-394E-B448-01F146E9A493}" destId="{2349EFCC-D6EF-F14F-8F03-59B42D87120C}" srcOrd="6" destOrd="0" presId="urn:microsoft.com/office/officeart/2005/8/layout/hierarchy4"/>
    <dgm:cxn modelId="{F8E2729C-D884-4C05-847B-2EC888F76C4A}" type="presParOf" srcId="{2349EFCC-D6EF-F14F-8F03-59B42D87120C}" destId="{027D962D-2EA5-464F-827D-5FE1D8B618A1}" srcOrd="0" destOrd="0" presId="urn:microsoft.com/office/officeart/2005/8/layout/hierarchy4"/>
    <dgm:cxn modelId="{11FB82E5-F635-4F3C-95E0-C932B04C4EFC}" type="presParOf" srcId="{2349EFCC-D6EF-F14F-8F03-59B42D87120C}" destId="{5D52124E-E701-A14E-978B-675C86D7D941}" srcOrd="1" destOrd="0" presId="urn:microsoft.com/office/officeart/2005/8/layout/hierarchy4"/>
    <dgm:cxn modelId="{C84D81BE-6372-4FA2-954D-8749B286EA11}" type="presParOf" srcId="{07F2754C-E745-394E-B448-01F146E9A493}" destId="{93302620-31AB-4744-93E7-EAF6C7A77D6E}" srcOrd="7" destOrd="0" presId="urn:microsoft.com/office/officeart/2005/8/layout/hierarchy4"/>
    <dgm:cxn modelId="{E8F8561C-E259-418A-852F-B717674C3C28}" type="presParOf" srcId="{07F2754C-E745-394E-B448-01F146E9A493}" destId="{79A592FD-AF06-9642-8007-09D471248D33}" srcOrd="8" destOrd="0" presId="urn:microsoft.com/office/officeart/2005/8/layout/hierarchy4"/>
    <dgm:cxn modelId="{85A1741C-7A07-49D4-A672-E7A9B42F2A32}" type="presParOf" srcId="{79A592FD-AF06-9642-8007-09D471248D33}" destId="{D73A2411-5BF3-5048-8FDD-2AA7C8DF38E0}" srcOrd="0" destOrd="0" presId="urn:microsoft.com/office/officeart/2005/8/layout/hierarchy4"/>
    <dgm:cxn modelId="{1C3F6B33-C920-44C1-9E30-431133C14531}" type="presParOf" srcId="{79A592FD-AF06-9642-8007-09D471248D33}" destId="{A5B95F44-F627-F14E-A903-667E3E942B16}" srcOrd="1" destOrd="0" presId="urn:microsoft.com/office/officeart/2005/8/layout/hierarchy4"/>
    <dgm:cxn modelId="{14218DFA-DA08-4DD8-9DF6-3D6390E30BB5}" type="presParOf" srcId="{07F2754C-E745-394E-B448-01F146E9A493}" destId="{236AC1D0-3375-824D-8FDC-0F1798C4046E}" srcOrd="9" destOrd="0" presId="urn:microsoft.com/office/officeart/2005/8/layout/hierarchy4"/>
    <dgm:cxn modelId="{4413E6FD-BEBB-412E-B398-0F5E3B052695}" type="presParOf" srcId="{07F2754C-E745-394E-B448-01F146E9A493}" destId="{3E9A3401-CDF7-8E46-87B0-A71177856B62}" srcOrd="10" destOrd="0" presId="urn:microsoft.com/office/officeart/2005/8/layout/hierarchy4"/>
    <dgm:cxn modelId="{DA4E2510-57D6-4BD1-829D-A7AE9837FB2C}" type="presParOf" srcId="{3E9A3401-CDF7-8E46-87B0-A71177856B62}" destId="{71EFDBA4-FD34-C04D-A343-12FFAAA2219C}" srcOrd="0" destOrd="0" presId="urn:microsoft.com/office/officeart/2005/8/layout/hierarchy4"/>
    <dgm:cxn modelId="{7A6AE6CB-4760-4E1A-988A-1F3963AE976F}" type="presParOf" srcId="{3E9A3401-CDF7-8E46-87B0-A71177856B62}" destId="{500AD90E-E799-0C4E-910B-A97A68C40A9E}" srcOrd="1" destOrd="0" presId="urn:microsoft.com/office/officeart/2005/8/layout/hierarchy4"/>
    <dgm:cxn modelId="{18BED9CB-F866-41A8-81CA-5485887E69BA}" type="presParOf" srcId="{07F2754C-E745-394E-B448-01F146E9A493}" destId="{F70D16F5-85BA-F245-851A-4A66C7DF421D}" srcOrd="11" destOrd="0" presId="urn:microsoft.com/office/officeart/2005/8/layout/hierarchy4"/>
    <dgm:cxn modelId="{BC9DEEE7-D3CC-4E77-93D4-8E4757D13A60}" type="presParOf" srcId="{07F2754C-E745-394E-B448-01F146E9A493}" destId="{6B050408-9C32-724B-B50B-C759B83C7008}" srcOrd="12" destOrd="0" presId="urn:microsoft.com/office/officeart/2005/8/layout/hierarchy4"/>
    <dgm:cxn modelId="{23FAF91C-54A3-4500-AD7A-3B30E52C7654}" type="presParOf" srcId="{6B050408-9C32-724B-B50B-C759B83C7008}" destId="{C52D1841-36E2-9D4B-BC9F-A24074B8AAD3}" srcOrd="0" destOrd="0" presId="urn:microsoft.com/office/officeart/2005/8/layout/hierarchy4"/>
    <dgm:cxn modelId="{40FD01A8-0D97-4389-A912-0AF22775500F}"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2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 SQL</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86BBE385-6A15-4ABA-ACD4-663AEEF347B7}" type="presOf" srcId="{2F9F089B-6CDE-3644-A71A-A5129F9689C7}" destId="{FF7A9D10-FC52-814C-BC88-3CB8D987E563}" srcOrd="0" destOrd="0" presId="urn:microsoft.com/office/officeart/2005/8/layout/hierarchy4"/>
    <dgm:cxn modelId="{99495A53-B1A4-E54A-BDED-90569695457E}" srcId="{FC8E4F8A-67E5-2045-9D5E-3FC794334922}" destId="{D459B528-A2E8-9D40-B9F3-A1953FDF22D7}" srcOrd="6" destOrd="0" parTransId="{D4349E50-BD21-A443-89BC-5D8432335ADC}" sibTransId="{1EB380D0-5C93-FD4B-AEC0-2890B45444BD}"/>
    <dgm:cxn modelId="{77DAFB1C-5216-4B17-A050-ACB31D31D6AB}" type="presOf" srcId="{D459B528-A2E8-9D40-B9F3-A1953FDF22D7}" destId="{C52D1841-36E2-9D4B-BC9F-A24074B8AAD3}" srcOrd="0" destOrd="0" presId="urn:microsoft.com/office/officeart/2005/8/layout/hierarchy4"/>
    <dgm:cxn modelId="{459333A1-76FB-7240-A9C0-38963D44CF8B}" srcId="{FC8E4F8A-67E5-2045-9D5E-3FC794334922}" destId="{40BD6C83-8F9F-5A4F-9687-09C767822952}" srcOrd="1" destOrd="0" parTransId="{A5D03699-D068-F54C-826D-09B305F306A4}" sibTransId="{AFC67590-308D-5B41-84B9-2376F08D1780}"/>
    <dgm:cxn modelId="{2B3BB281-6B11-4F0C-883F-A555AC748502}" type="presOf" srcId="{B791BFEE-811F-614D-9E2F-A9E3C1B09519}" destId="{71EFDBA4-FD34-C04D-A343-12FFAAA2219C}" srcOrd="0" destOrd="0" presId="urn:microsoft.com/office/officeart/2005/8/layout/hierarchy4"/>
    <dgm:cxn modelId="{2E6D4B37-2904-4977-AC49-CD14FFC674E9}" type="presOf" srcId="{E3485FBA-95F2-054A-AEC2-229E0DA3A15E}" destId="{A97B6EE3-C913-9249-9BB0-F869F56702F9}" srcOrd="0" destOrd="0" presId="urn:microsoft.com/office/officeart/2005/8/layout/hierarchy4"/>
    <dgm:cxn modelId="{B425B376-23EE-4713-8ABD-619651F7E87F}" type="presOf" srcId="{027B2473-40A2-3B43-B43F-38DEED3C23F6}" destId="{D73A2411-5BF3-5048-8FDD-2AA7C8DF38E0}" srcOrd="0" destOrd="0" presId="urn:microsoft.com/office/officeart/2005/8/layout/hierarchy4"/>
    <dgm:cxn modelId="{7B7936C9-EE18-6641-B47C-71C825F154DB}" srcId="{FC8E4F8A-67E5-2045-9D5E-3FC794334922}" destId="{FB0B53D9-195C-E342-956D-F618DF62762F}" srcOrd="3" destOrd="0" parTransId="{B5CA3A2B-F6F0-1D4F-9108-A123E5BB82B2}" sibTransId="{A0F1DF69-79A4-5A4A-B4FE-EBD450354025}"/>
    <dgm:cxn modelId="{EBE28BA0-EFBE-6E4F-B4BB-288E02289E0D}" srcId="{FC8E4F8A-67E5-2045-9D5E-3FC794334922}" destId="{B791BFEE-811F-614D-9E2F-A9E3C1B09519}" srcOrd="5" destOrd="0" parTransId="{61DC409F-BF87-F247-A67F-21096AD9CFD3}" sibTransId="{585B9CB7-8FB4-D94F-979B-A2F34A126751}"/>
    <dgm:cxn modelId="{7DC0249E-19AC-4EBF-BD6B-4EBD84335F30}" type="presOf" srcId="{FB0B53D9-195C-E342-956D-F618DF62762F}" destId="{027D962D-2EA5-464F-827D-5FE1D8B618A1}" srcOrd="0" destOrd="0" presId="urn:microsoft.com/office/officeart/2005/8/layout/hierarchy4"/>
    <dgm:cxn modelId="{24E9E15C-348E-420C-9243-EA8ABDDEDFDA}" type="presOf" srcId="{FC8E4F8A-67E5-2045-9D5E-3FC794334922}" destId="{07F2754C-E745-394E-B448-01F146E9A493}" srcOrd="0" destOrd="0" presId="urn:microsoft.com/office/officeart/2005/8/layout/hierarchy4"/>
    <dgm:cxn modelId="{F559A16A-C266-4232-BF56-20D1BA79802F}" type="presOf" srcId="{40BD6C83-8F9F-5A4F-9687-09C767822952}" destId="{97B909D6-A9F8-ED48-8A1A-010B75477D74}"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2" destOrd="0" parTransId="{12E1C44F-7698-124D-8B08-8F60057B054D}" sibTransId="{2AC2EF0C-2EE3-6640-A796-8994BF99D979}"/>
    <dgm:cxn modelId="{E32A4819-DA2E-2F47-A2F5-682D672333AE}" srcId="{FC8E4F8A-67E5-2045-9D5E-3FC794334922}" destId="{027B2473-40A2-3B43-B43F-38DEED3C23F6}" srcOrd="4" destOrd="0" parTransId="{BA77F311-3B04-B247-B68A-70B04552A3DE}" sibTransId="{2091BAEF-6F31-D84F-97CC-2ECF5B035F26}"/>
    <dgm:cxn modelId="{A0639EBD-D7CC-45BA-B29A-2C04D4C4089C}" type="presParOf" srcId="{07F2754C-E745-394E-B448-01F146E9A493}" destId="{72BF7568-AE61-D44D-B503-BA1B66CA9BB1}" srcOrd="0" destOrd="0" presId="urn:microsoft.com/office/officeart/2005/8/layout/hierarchy4"/>
    <dgm:cxn modelId="{3B7C01CC-5EE6-48CA-9CAC-A35D5E78DCF8}" type="presParOf" srcId="{72BF7568-AE61-D44D-B503-BA1B66CA9BB1}" destId="{FF7A9D10-FC52-814C-BC88-3CB8D987E563}" srcOrd="0" destOrd="0" presId="urn:microsoft.com/office/officeart/2005/8/layout/hierarchy4"/>
    <dgm:cxn modelId="{7E53C59D-199B-4D13-BC68-C8343C4EEBE3}" type="presParOf" srcId="{72BF7568-AE61-D44D-B503-BA1B66CA9BB1}" destId="{45E330AC-B148-B345-9481-A07AB4710ACD}" srcOrd="1" destOrd="0" presId="urn:microsoft.com/office/officeart/2005/8/layout/hierarchy4"/>
    <dgm:cxn modelId="{2BDA9345-E783-4E11-92C6-69A2D67F73A7}" type="presParOf" srcId="{07F2754C-E745-394E-B448-01F146E9A493}" destId="{18C604F1-C22A-4E48-89B9-E1871522632F}" srcOrd="1" destOrd="0" presId="urn:microsoft.com/office/officeart/2005/8/layout/hierarchy4"/>
    <dgm:cxn modelId="{C57585FE-07BB-4410-A1B3-0F024E077623}" type="presParOf" srcId="{07F2754C-E745-394E-B448-01F146E9A493}" destId="{1211B795-63B4-6D42-83DC-8DE364644B0A}" srcOrd="2" destOrd="0" presId="urn:microsoft.com/office/officeart/2005/8/layout/hierarchy4"/>
    <dgm:cxn modelId="{62074CB0-86E3-4258-B9F3-3E582A3F6E53}" type="presParOf" srcId="{1211B795-63B4-6D42-83DC-8DE364644B0A}" destId="{97B909D6-A9F8-ED48-8A1A-010B75477D74}" srcOrd="0" destOrd="0" presId="urn:microsoft.com/office/officeart/2005/8/layout/hierarchy4"/>
    <dgm:cxn modelId="{81074BCF-184C-4295-AE2D-44D206BC3817}" type="presParOf" srcId="{1211B795-63B4-6D42-83DC-8DE364644B0A}" destId="{E81ECE34-0A05-A84B-BC4B-0F895A797FB2}" srcOrd="1" destOrd="0" presId="urn:microsoft.com/office/officeart/2005/8/layout/hierarchy4"/>
    <dgm:cxn modelId="{D4600278-5D4A-4508-B3D8-ED9B304C5279}" type="presParOf" srcId="{07F2754C-E745-394E-B448-01F146E9A493}" destId="{C2811CAA-C3FE-204F-B5D5-68D40BF1F1E7}" srcOrd="3" destOrd="0" presId="urn:microsoft.com/office/officeart/2005/8/layout/hierarchy4"/>
    <dgm:cxn modelId="{91C1FE15-84A7-4C77-AF23-F95EA5F80500}" type="presParOf" srcId="{07F2754C-E745-394E-B448-01F146E9A493}" destId="{4F740ECE-EE3A-3C41-991C-EA6F60703047}" srcOrd="4" destOrd="0" presId="urn:microsoft.com/office/officeart/2005/8/layout/hierarchy4"/>
    <dgm:cxn modelId="{09BFFEC8-9476-459B-9F31-B35857AA565F}" type="presParOf" srcId="{4F740ECE-EE3A-3C41-991C-EA6F60703047}" destId="{A97B6EE3-C913-9249-9BB0-F869F56702F9}" srcOrd="0" destOrd="0" presId="urn:microsoft.com/office/officeart/2005/8/layout/hierarchy4"/>
    <dgm:cxn modelId="{E16CA578-F637-4570-B363-C3D0A9E1F980}" type="presParOf" srcId="{4F740ECE-EE3A-3C41-991C-EA6F60703047}" destId="{576DEBAB-9492-7148-B255-B69B39AEEFD5}" srcOrd="1" destOrd="0" presId="urn:microsoft.com/office/officeart/2005/8/layout/hierarchy4"/>
    <dgm:cxn modelId="{AD7F2310-77A2-4589-A9CE-736BE55F3E00}" type="presParOf" srcId="{07F2754C-E745-394E-B448-01F146E9A493}" destId="{3E3E1513-051B-D747-9578-5157F0BD2606}" srcOrd="5" destOrd="0" presId="urn:microsoft.com/office/officeart/2005/8/layout/hierarchy4"/>
    <dgm:cxn modelId="{C3296AF2-D64E-4A6A-AA7C-6671C74F0DC3}" type="presParOf" srcId="{07F2754C-E745-394E-B448-01F146E9A493}" destId="{2349EFCC-D6EF-F14F-8F03-59B42D87120C}" srcOrd="6" destOrd="0" presId="urn:microsoft.com/office/officeart/2005/8/layout/hierarchy4"/>
    <dgm:cxn modelId="{24A2DB04-E7F6-4CCF-8888-F5B942D02D34}" type="presParOf" srcId="{2349EFCC-D6EF-F14F-8F03-59B42D87120C}" destId="{027D962D-2EA5-464F-827D-5FE1D8B618A1}" srcOrd="0" destOrd="0" presId="urn:microsoft.com/office/officeart/2005/8/layout/hierarchy4"/>
    <dgm:cxn modelId="{05860384-9C40-4D15-93B7-9CDC344613D3}" type="presParOf" srcId="{2349EFCC-D6EF-F14F-8F03-59B42D87120C}" destId="{5D52124E-E701-A14E-978B-675C86D7D941}" srcOrd="1" destOrd="0" presId="urn:microsoft.com/office/officeart/2005/8/layout/hierarchy4"/>
    <dgm:cxn modelId="{CD629A54-6BD0-4364-AF0B-231A735807A8}" type="presParOf" srcId="{07F2754C-E745-394E-B448-01F146E9A493}" destId="{93302620-31AB-4744-93E7-EAF6C7A77D6E}" srcOrd="7" destOrd="0" presId="urn:microsoft.com/office/officeart/2005/8/layout/hierarchy4"/>
    <dgm:cxn modelId="{39866CE8-EA50-4415-B5A8-E45551BB6DD0}" type="presParOf" srcId="{07F2754C-E745-394E-B448-01F146E9A493}" destId="{79A592FD-AF06-9642-8007-09D471248D33}" srcOrd="8" destOrd="0" presId="urn:microsoft.com/office/officeart/2005/8/layout/hierarchy4"/>
    <dgm:cxn modelId="{0D66D30D-9AD0-4104-BABE-AB85C3A24A0D}" type="presParOf" srcId="{79A592FD-AF06-9642-8007-09D471248D33}" destId="{D73A2411-5BF3-5048-8FDD-2AA7C8DF38E0}" srcOrd="0" destOrd="0" presId="urn:microsoft.com/office/officeart/2005/8/layout/hierarchy4"/>
    <dgm:cxn modelId="{58A12185-F8C3-43E1-9526-247BD6363CCA}" type="presParOf" srcId="{79A592FD-AF06-9642-8007-09D471248D33}" destId="{A5B95F44-F627-F14E-A903-667E3E942B16}" srcOrd="1" destOrd="0" presId="urn:microsoft.com/office/officeart/2005/8/layout/hierarchy4"/>
    <dgm:cxn modelId="{FACFBF16-F376-4D5B-8F46-79B9B7F11E43}" type="presParOf" srcId="{07F2754C-E745-394E-B448-01F146E9A493}" destId="{236AC1D0-3375-824D-8FDC-0F1798C4046E}" srcOrd="9" destOrd="0" presId="urn:microsoft.com/office/officeart/2005/8/layout/hierarchy4"/>
    <dgm:cxn modelId="{A26D9B45-94E5-4046-A837-0E40DE14D802}" type="presParOf" srcId="{07F2754C-E745-394E-B448-01F146E9A493}" destId="{3E9A3401-CDF7-8E46-87B0-A71177856B62}" srcOrd="10" destOrd="0" presId="urn:microsoft.com/office/officeart/2005/8/layout/hierarchy4"/>
    <dgm:cxn modelId="{1BF8CB85-B15E-4879-9339-B4F17B48D5BB}" type="presParOf" srcId="{3E9A3401-CDF7-8E46-87B0-A71177856B62}" destId="{71EFDBA4-FD34-C04D-A343-12FFAAA2219C}" srcOrd="0" destOrd="0" presId="urn:microsoft.com/office/officeart/2005/8/layout/hierarchy4"/>
    <dgm:cxn modelId="{9E162D3C-DE0E-4952-A6A5-1020351AA646}" type="presParOf" srcId="{3E9A3401-CDF7-8E46-87B0-A71177856B62}" destId="{500AD90E-E799-0C4E-910B-A97A68C40A9E}" srcOrd="1" destOrd="0" presId="urn:microsoft.com/office/officeart/2005/8/layout/hierarchy4"/>
    <dgm:cxn modelId="{BD329EC8-D645-4EB1-A2C4-4C57F42589F0}" type="presParOf" srcId="{07F2754C-E745-394E-B448-01F146E9A493}" destId="{F70D16F5-85BA-F245-851A-4A66C7DF421D}" srcOrd="11" destOrd="0" presId="urn:microsoft.com/office/officeart/2005/8/layout/hierarchy4"/>
    <dgm:cxn modelId="{3706D782-157F-4689-9324-2E3B09BE7EC4}" type="presParOf" srcId="{07F2754C-E745-394E-B448-01F146E9A493}" destId="{6B050408-9C32-724B-B50B-C759B83C7008}" srcOrd="12" destOrd="0" presId="urn:microsoft.com/office/officeart/2005/8/layout/hierarchy4"/>
    <dgm:cxn modelId="{0041AE9D-4C4C-4BA3-8373-774A777946AA}" type="presParOf" srcId="{6B050408-9C32-724B-B50B-C759B83C7008}" destId="{C52D1841-36E2-9D4B-BC9F-A24074B8AAD3}" srcOrd="0" destOrd="0" presId="urn:microsoft.com/office/officeart/2005/8/layout/hierarchy4"/>
    <dgm:cxn modelId="{11790B2A-E55E-436C-A6FE-6936EA8525F4}"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2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Lst>
  <dgm:cxnLst>
    <dgm:cxn modelId="{F7D601D9-C1D1-46A8-BB0F-ABA17B43A5A3}" type="presOf" srcId="{FC8E4F8A-67E5-2045-9D5E-3FC794334922}" destId="{07F2754C-E745-394E-B448-01F146E9A493}" srcOrd="0" destOrd="0" presId="urn:microsoft.com/office/officeart/2005/8/layout/hierarchy4"/>
  </dgm:cxnLst>
  <dgm:bg>
    <a:noFill/>
  </dgm:bg>
  <dgm:whole/>
  <dgm:extLst>
    <a:ext uri="http://schemas.microsoft.com/office/drawing/2008/diagram">
      <dsp:dataModelExt xmlns:dsp="http://schemas.microsoft.com/office/drawing/2008/diagram" relId="rId32"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BF0A13"/>
        </a:solidFill>
      </dgm:spPr>
      <dgm:t>
        <a:bodyPr/>
        <a:lstStyle/>
        <a:p>
          <a:r>
            <a:rPr lang="en-US" sz="1200" b="0" i="0" dirty="0" smtClean="0">
              <a:latin typeface="Helvetica Neue Light" charset="0"/>
              <a:ea typeface="Helvetica Neue Light" charset="0"/>
              <a:cs typeface="Helvetica Neue Light" charset="0"/>
            </a:rPr>
            <a:t>Machine Learning, </a:t>
          </a:r>
          <a:br>
            <a:rPr lang="en-US" sz="1200" b="0" i="0" dirty="0" smtClean="0">
              <a:latin typeface="Helvetica Neue Light" charset="0"/>
              <a:ea typeface="Helvetica Neue Light" charset="0"/>
              <a:cs typeface="Helvetica Neue Light" charset="0"/>
            </a:rPr>
          </a:br>
          <a:r>
            <a:rPr lang="en-US" sz="1200" b="0" i="0" dirty="0" smtClean="0">
              <a:latin typeface="Helvetica Neue Light" charset="0"/>
              <a:ea typeface="Helvetica Neue Light" charset="0"/>
              <a:cs typeface="Helvetica Neue Light" charset="0"/>
            </a:rPr>
            <a:t>Text Analytics</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BF818B2D-1395-DD45-AE47-FCD63B94F723}">
      <dgm:prSet/>
      <dgm:spPr>
        <a:solidFill>
          <a:srgbClr val="1DA083"/>
        </a:solidFill>
      </dgm:spPr>
      <dgm:t>
        <a:bodyPr/>
        <a:lstStyle/>
        <a:p>
          <a:endParaRPr lang="en-US" dirty="0"/>
        </a:p>
      </dgm:t>
    </dgm:pt>
    <dgm:pt modelId="{C7211ED2-5743-6642-990B-0A51157BE98B}" type="parTrans" cxnId="{5D0CDB1D-D3F7-7247-9F5D-1F7E7E66D6CA}">
      <dgm:prSet/>
      <dgm:spPr/>
      <dgm:t>
        <a:bodyPr/>
        <a:lstStyle/>
        <a:p>
          <a:endParaRPr lang="en-US"/>
        </a:p>
      </dgm:t>
    </dgm:pt>
    <dgm:pt modelId="{D51C0B96-6612-0B46-ACFF-68BA0CABA230}" type="sibTrans" cxnId="{5D0CDB1D-D3F7-7247-9F5D-1F7E7E66D6CA}">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8" custScaleX="11791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77842F98-C999-F444-B235-5E84E3EC7162}" type="pres">
      <dgm:prSet presAssocID="{BF818B2D-1395-DD45-AE47-FCD63B94F723}" presName="vertOne" presStyleCnt="0"/>
      <dgm:spPr/>
    </dgm:pt>
    <dgm:pt modelId="{6A6AC99F-0DD6-2B4E-90B9-8D4EF6A8608F}" type="pres">
      <dgm:prSet presAssocID="{BF818B2D-1395-DD45-AE47-FCD63B94F723}" presName="txOne" presStyleLbl="node0" presStyleIdx="1" presStyleCnt="8" custScaleX="34072">
        <dgm:presLayoutVars>
          <dgm:chPref val="3"/>
        </dgm:presLayoutVars>
      </dgm:prSet>
      <dgm:spPr/>
      <dgm:t>
        <a:bodyPr/>
        <a:lstStyle/>
        <a:p>
          <a:endParaRPr lang="en-US"/>
        </a:p>
      </dgm:t>
    </dgm:pt>
    <dgm:pt modelId="{CDBA27F0-F0AF-504E-A92D-D8F63A79C420}" type="pres">
      <dgm:prSet presAssocID="{BF818B2D-1395-DD45-AE47-FCD63B94F723}" presName="horzOne" presStyleCnt="0"/>
      <dgm:spPr/>
    </dgm:pt>
    <dgm:pt modelId="{7ECC6899-967D-BA4A-BD41-EAC12F2672BB}" type="pres">
      <dgm:prSet presAssocID="{D51C0B96-6612-0B46-ACFF-68BA0CABA230}"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2" presStyleCnt="8"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3" presStyleCnt="8"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4" presStyleCnt="8"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5" presStyleCnt="8"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6" presStyleCnt="8"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7" presStyleCnt="8"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7B7936C9-EE18-6641-B47C-71C825F154DB}" srcId="{FC8E4F8A-67E5-2045-9D5E-3FC794334922}" destId="{FB0B53D9-195C-E342-956D-F618DF62762F}" srcOrd="4" destOrd="0" parTransId="{B5CA3A2B-F6F0-1D4F-9108-A123E5BB82B2}" sibTransId="{A0F1DF69-79A4-5A4A-B4FE-EBD450354025}"/>
    <dgm:cxn modelId="{E32A4819-DA2E-2F47-A2F5-682D672333AE}" srcId="{FC8E4F8A-67E5-2045-9D5E-3FC794334922}" destId="{027B2473-40A2-3B43-B43F-38DEED3C23F6}" srcOrd="5" destOrd="0" parTransId="{BA77F311-3B04-B247-B68A-70B04552A3DE}" sibTransId="{2091BAEF-6F31-D84F-97CC-2ECF5B035F26}"/>
    <dgm:cxn modelId="{37F5294B-AE97-4AC3-BD4C-2C22BA389174}" type="presOf" srcId="{D459B528-A2E8-9D40-B9F3-A1953FDF22D7}" destId="{C52D1841-36E2-9D4B-BC9F-A24074B8AAD3}" srcOrd="0" destOrd="0" presId="urn:microsoft.com/office/officeart/2005/8/layout/hierarchy4"/>
    <dgm:cxn modelId="{77CBC785-380C-4712-8AC2-6CCBB5DB0ADF}" type="presOf" srcId="{2F9F089B-6CDE-3644-A71A-A5129F9689C7}" destId="{FF7A9D10-FC52-814C-BC88-3CB8D987E563}" srcOrd="0" destOrd="0" presId="urn:microsoft.com/office/officeart/2005/8/layout/hierarchy4"/>
    <dgm:cxn modelId="{494A9865-D1D6-4274-97B6-E66B54D7E380}" type="presOf" srcId="{027B2473-40A2-3B43-B43F-38DEED3C23F6}" destId="{D73A2411-5BF3-5048-8FDD-2AA7C8DF38E0}" srcOrd="0" destOrd="0" presId="urn:microsoft.com/office/officeart/2005/8/layout/hierarchy4"/>
    <dgm:cxn modelId="{43493062-2BEF-4F81-B35F-F9F4CDB5D794}" type="presOf" srcId="{B791BFEE-811F-614D-9E2F-A9E3C1B09519}" destId="{71EFDBA4-FD34-C04D-A343-12FFAAA2219C}" srcOrd="0" destOrd="0" presId="urn:microsoft.com/office/officeart/2005/8/layout/hierarchy4"/>
    <dgm:cxn modelId="{AF7E7C87-5B6F-4F84-BCB9-3292708A117F}" type="presOf" srcId="{FC8E4F8A-67E5-2045-9D5E-3FC794334922}" destId="{07F2754C-E745-394E-B448-01F146E9A49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0BDCB02D-066F-445B-9181-B0E4BD293394}" type="presOf" srcId="{40BD6C83-8F9F-5A4F-9687-09C767822952}" destId="{97B909D6-A9F8-ED48-8A1A-010B75477D74}" srcOrd="0" destOrd="0" presId="urn:microsoft.com/office/officeart/2005/8/layout/hierarchy4"/>
    <dgm:cxn modelId="{5D0CDB1D-D3F7-7247-9F5D-1F7E7E66D6CA}" srcId="{FC8E4F8A-67E5-2045-9D5E-3FC794334922}" destId="{BF818B2D-1395-DD45-AE47-FCD63B94F723}" srcOrd="1" destOrd="0" parTransId="{C7211ED2-5743-6642-990B-0A51157BE98B}" sibTransId="{D51C0B96-6612-0B46-ACFF-68BA0CABA230}"/>
    <dgm:cxn modelId="{A749852B-9176-40DF-80D3-70868E6E9E8D}" type="presOf" srcId="{BF818B2D-1395-DD45-AE47-FCD63B94F723}" destId="{6A6AC99F-0DD6-2B4E-90B9-8D4EF6A8608F}" srcOrd="0" destOrd="0" presId="urn:microsoft.com/office/officeart/2005/8/layout/hierarchy4"/>
    <dgm:cxn modelId="{E9CAD390-710B-48B0-9B24-5DD7A9678DCB}" type="presOf" srcId="{FB0B53D9-195C-E342-956D-F618DF62762F}" destId="{027D962D-2EA5-464F-827D-5FE1D8B618A1}" srcOrd="0" destOrd="0" presId="urn:microsoft.com/office/officeart/2005/8/layout/hierarchy4"/>
    <dgm:cxn modelId="{459333A1-76FB-7240-A9C0-38963D44CF8B}" srcId="{FC8E4F8A-67E5-2045-9D5E-3FC794334922}" destId="{40BD6C83-8F9F-5A4F-9687-09C767822952}" srcOrd="2" destOrd="0" parTransId="{A5D03699-D068-F54C-826D-09B305F306A4}" sibTransId="{AFC67590-308D-5B41-84B9-2376F08D1780}"/>
    <dgm:cxn modelId="{99495A53-B1A4-E54A-BDED-90569695457E}" srcId="{FC8E4F8A-67E5-2045-9D5E-3FC794334922}" destId="{D459B528-A2E8-9D40-B9F3-A1953FDF22D7}" srcOrd="7" destOrd="0" parTransId="{D4349E50-BD21-A443-89BC-5D8432335ADC}" sibTransId="{1EB380D0-5C93-FD4B-AEC0-2890B45444BD}"/>
    <dgm:cxn modelId="{30017B9A-986B-4A0B-9AE6-02026FE1016A}" type="presOf" srcId="{E3485FBA-95F2-054A-AEC2-229E0DA3A15E}" destId="{A97B6EE3-C913-9249-9BB0-F869F56702F9}" srcOrd="0" destOrd="0" presId="urn:microsoft.com/office/officeart/2005/8/layout/hierarchy4"/>
    <dgm:cxn modelId="{D5A212E3-513B-5C4C-978D-179B0697EB27}" srcId="{FC8E4F8A-67E5-2045-9D5E-3FC794334922}" destId="{E3485FBA-95F2-054A-AEC2-229E0DA3A15E}" srcOrd="3" destOrd="0" parTransId="{12E1C44F-7698-124D-8B08-8F60057B054D}" sibTransId="{2AC2EF0C-2EE3-6640-A796-8994BF99D979}"/>
    <dgm:cxn modelId="{EBE28BA0-EFBE-6E4F-B4BB-288E02289E0D}" srcId="{FC8E4F8A-67E5-2045-9D5E-3FC794334922}" destId="{B791BFEE-811F-614D-9E2F-A9E3C1B09519}" srcOrd="6" destOrd="0" parTransId="{61DC409F-BF87-F247-A67F-21096AD9CFD3}" sibTransId="{585B9CB7-8FB4-D94F-979B-A2F34A126751}"/>
    <dgm:cxn modelId="{A8C89955-E468-4BC4-A62D-BF9C891145B6}" type="presParOf" srcId="{07F2754C-E745-394E-B448-01F146E9A493}" destId="{72BF7568-AE61-D44D-B503-BA1B66CA9BB1}" srcOrd="0" destOrd="0" presId="urn:microsoft.com/office/officeart/2005/8/layout/hierarchy4"/>
    <dgm:cxn modelId="{C6992675-42EE-44CF-880F-2A4CD8723166}" type="presParOf" srcId="{72BF7568-AE61-D44D-B503-BA1B66CA9BB1}" destId="{FF7A9D10-FC52-814C-BC88-3CB8D987E563}" srcOrd="0" destOrd="0" presId="urn:microsoft.com/office/officeart/2005/8/layout/hierarchy4"/>
    <dgm:cxn modelId="{67001CD3-7379-4AEF-80EC-EB973C2BFEBC}" type="presParOf" srcId="{72BF7568-AE61-D44D-B503-BA1B66CA9BB1}" destId="{45E330AC-B148-B345-9481-A07AB4710ACD}" srcOrd="1" destOrd="0" presId="urn:microsoft.com/office/officeart/2005/8/layout/hierarchy4"/>
    <dgm:cxn modelId="{851026C8-E7E6-487E-B591-B03C84194B71}" type="presParOf" srcId="{07F2754C-E745-394E-B448-01F146E9A493}" destId="{18C604F1-C22A-4E48-89B9-E1871522632F}" srcOrd="1" destOrd="0" presId="urn:microsoft.com/office/officeart/2005/8/layout/hierarchy4"/>
    <dgm:cxn modelId="{336C4581-F2F9-4FD7-8170-AF939C4834CD}" type="presParOf" srcId="{07F2754C-E745-394E-B448-01F146E9A493}" destId="{77842F98-C999-F444-B235-5E84E3EC7162}" srcOrd="2" destOrd="0" presId="urn:microsoft.com/office/officeart/2005/8/layout/hierarchy4"/>
    <dgm:cxn modelId="{1B01C683-AE1B-4D5E-8365-2833ECCE0C79}" type="presParOf" srcId="{77842F98-C999-F444-B235-5E84E3EC7162}" destId="{6A6AC99F-0DD6-2B4E-90B9-8D4EF6A8608F}" srcOrd="0" destOrd="0" presId="urn:microsoft.com/office/officeart/2005/8/layout/hierarchy4"/>
    <dgm:cxn modelId="{CDFDE0D5-138D-465D-A6FD-6C87C7F0AE69}" type="presParOf" srcId="{77842F98-C999-F444-B235-5E84E3EC7162}" destId="{CDBA27F0-F0AF-504E-A92D-D8F63A79C420}" srcOrd="1" destOrd="0" presId="urn:microsoft.com/office/officeart/2005/8/layout/hierarchy4"/>
    <dgm:cxn modelId="{3D3181D5-1C63-4959-9F81-B75AE0A0A058}" type="presParOf" srcId="{07F2754C-E745-394E-B448-01F146E9A493}" destId="{7ECC6899-967D-BA4A-BD41-EAC12F2672BB}" srcOrd="3" destOrd="0" presId="urn:microsoft.com/office/officeart/2005/8/layout/hierarchy4"/>
    <dgm:cxn modelId="{1D93BDAA-7748-465E-AF06-5EADA73CE6C4}" type="presParOf" srcId="{07F2754C-E745-394E-B448-01F146E9A493}" destId="{1211B795-63B4-6D42-83DC-8DE364644B0A}" srcOrd="4" destOrd="0" presId="urn:microsoft.com/office/officeart/2005/8/layout/hierarchy4"/>
    <dgm:cxn modelId="{1BA92D04-55B1-47D5-B46F-C9D07BEEAB2A}" type="presParOf" srcId="{1211B795-63B4-6D42-83DC-8DE364644B0A}" destId="{97B909D6-A9F8-ED48-8A1A-010B75477D74}" srcOrd="0" destOrd="0" presId="urn:microsoft.com/office/officeart/2005/8/layout/hierarchy4"/>
    <dgm:cxn modelId="{CBCAFA72-A696-4A47-8BFB-021E128E74A2}" type="presParOf" srcId="{1211B795-63B4-6D42-83DC-8DE364644B0A}" destId="{E81ECE34-0A05-A84B-BC4B-0F895A797FB2}" srcOrd="1" destOrd="0" presId="urn:microsoft.com/office/officeart/2005/8/layout/hierarchy4"/>
    <dgm:cxn modelId="{6FD74C67-6DC2-4017-9AF7-065B7B9F7314}" type="presParOf" srcId="{07F2754C-E745-394E-B448-01F146E9A493}" destId="{C2811CAA-C3FE-204F-B5D5-68D40BF1F1E7}" srcOrd="5" destOrd="0" presId="urn:microsoft.com/office/officeart/2005/8/layout/hierarchy4"/>
    <dgm:cxn modelId="{30EFFBE0-356B-4E0A-A666-88289F087EC4}" type="presParOf" srcId="{07F2754C-E745-394E-B448-01F146E9A493}" destId="{4F740ECE-EE3A-3C41-991C-EA6F60703047}" srcOrd="6" destOrd="0" presId="urn:microsoft.com/office/officeart/2005/8/layout/hierarchy4"/>
    <dgm:cxn modelId="{3B6E0F8E-EE5B-4241-9E83-891439E8AD4E}" type="presParOf" srcId="{4F740ECE-EE3A-3C41-991C-EA6F60703047}" destId="{A97B6EE3-C913-9249-9BB0-F869F56702F9}" srcOrd="0" destOrd="0" presId="urn:microsoft.com/office/officeart/2005/8/layout/hierarchy4"/>
    <dgm:cxn modelId="{090129C1-A4F5-4817-998B-EE9212E22B76}" type="presParOf" srcId="{4F740ECE-EE3A-3C41-991C-EA6F60703047}" destId="{576DEBAB-9492-7148-B255-B69B39AEEFD5}" srcOrd="1" destOrd="0" presId="urn:microsoft.com/office/officeart/2005/8/layout/hierarchy4"/>
    <dgm:cxn modelId="{D184A46F-1C21-4331-BFDA-17E253C57B3D}" type="presParOf" srcId="{07F2754C-E745-394E-B448-01F146E9A493}" destId="{3E3E1513-051B-D747-9578-5157F0BD2606}" srcOrd="7" destOrd="0" presId="urn:microsoft.com/office/officeart/2005/8/layout/hierarchy4"/>
    <dgm:cxn modelId="{D4224976-DF3D-4D45-902F-1E2AE0877A04}" type="presParOf" srcId="{07F2754C-E745-394E-B448-01F146E9A493}" destId="{2349EFCC-D6EF-F14F-8F03-59B42D87120C}" srcOrd="8" destOrd="0" presId="urn:microsoft.com/office/officeart/2005/8/layout/hierarchy4"/>
    <dgm:cxn modelId="{933B000C-B3E1-40D6-82C1-D4795CADE181}" type="presParOf" srcId="{2349EFCC-D6EF-F14F-8F03-59B42D87120C}" destId="{027D962D-2EA5-464F-827D-5FE1D8B618A1}" srcOrd="0" destOrd="0" presId="urn:microsoft.com/office/officeart/2005/8/layout/hierarchy4"/>
    <dgm:cxn modelId="{75282F58-D8F6-48D6-8AA2-D8B76CC15561}" type="presParOf" srcId="{2349EFCC-D6EF-F14F-8F03-59B42D87120C}" destId="{5D52124E-E701-A14E-978B-675C86D7D941}" srcOrd="1" destOrd="0" presId="urn:microsoft.com/office/officeart/2005/8/layout/hierarchy4"/>
    <dgm:cxn modelId="{9C449B62-DB51-4F08-AE66-C6DEE29DC360}" type="presParOf" srcId="{07F2754C-E745-394E-B448-01F146E9A493}" destId="{93302620-31AB-4744-93E7-EAF6C7A77D6E}" srcOrd="9" destOrd="0" presId="urn:microsoft.com/office/officeart/2005/8/layout/hierarchy4"/>
    <dgm:cxn modelId="{4BADC80D-F949-4335-B79B-21BF88CC699F}" type="presParOf" srcId="{07F2754C-E745-394E-B448-01F146E9A493}" destId="{79A592FD-AF06-9642-8007-09D471248D33}" srcOrd="10" destOrd="0" presId="urn:microsoft.com/office/officeart/2005/8/layout/hierarchy4"/>
    <dgm:cxn modelId="{7A78F07E-0B26-43B1-A097-F74F9123E4C2}" type="presParOf" srcId="{79A592FD-AF06-9642-8007-09D471248D33}" destId="{D73A2411-5BF3-5048-8FDD-2AA7C8DF38E0}" srcOrd="0" destOrd="0" presId="urn:microsoft.com/office/officeart/2005/8/layout/hierarchy4"/>
    <dgm:cxn modelId="{F96F5BD0-AB60-4BD0-A441-EB4AAD0EC55F}" type="presParOf" srcId="{79A592FD-AF06-9642-8007-09D471248D33}" destId="{A5B95F44-F627-F14E-A903-667E3E942B16}" srcOrd="1" destOrd="0" presId="urn:microsoft.com/office/officeart/2005/8/layout/hierarchy4"/>
    <dgm:cxn modelId="{DD7FD071-7309-4146-98EC-69D7A1076868}" type="presParOf" srcId="{07F2754C-E745-394E-B448-01F146E9A493}" destId="{236AC1D0-3375-824D-8FDC-0F1798C4046E}" srcOrd="11" destOrd="0" presId="urn:microsoft.com/office/officeart/2005/8/layout/hierarchy4"/>
    <dgm:cxn modelId="{BDAA5F72-4681-4C92-8BD6-BE54D4BF2DCB}" type="presParOf" srcId="{07F2754C-E745-394E-B448-01F146E9A493}" destId="{3E9A3401-CDF7-8E46-87B0-A71177856B62}" srcOrd="12" destOrd="0" presId="urn:microsoft.com/office/officeart/2005/8/layout/hierarchy4"/>
    <dgm:cxn modelId="{2A70A9B8-7AB8-4E82-A6C9-3DC8156CE8C1}" type="presParOf" srcId="{3E9A3401-CDF7-8E46-87B0-A71177856B62}" destId="{71EFDBA4-FD34-C04D-A343-12FFAAA2219C}" srcOrd="0" destOrd="0" presId="urn:microsoft.com/office/officeart/2005/8/layout/hierarchy4"/>
    <dgm:cxn modelId="{6C1FE76F-C259-4800-9249-F688D98176CF}" type="presParOf" srcId="{3E9A3401-CDF7-8E46-87B0-A71177856B62}" destId="{500AD90E-E799-0C4E-910B-A97A68C40A9E}" srcOrd="1" destOrd="0" presId="urn:microsoft.com/office/officeart/2005/8/layout/hierarchy4"/>
    <dgm:cxn modelId="{CCE3DC05-05E5-45AB-B669-A30EA7578BC5}" type="presParOf" srcId="{07F2754C-E745-394E-B448-01F146E9A493}" destId="{F70D16F5-85BA-F245-851A-4A66C7DF421D}" srcOrd="13" destOrd="0" presId="urn:microsoft.com/office/officeart/2005/8/layout/hierarchy4"/>
    <dgm:cxn modelId="{237EE143-D069-478D-A581-C9A486271783}" type="presParOf" srcId="{07F2754C-E745-394E-B448-01F146E9A493}" destId="{6B050408-9C32-724B-B50B-C759B83C7008}" srcOrd="14" destOrd="0" presId="urn:microsoft.com/office/officeart/2005/8/layout/hierarchy4"/>
    <dgm:cxn modelId="{7D3D17DC-FEFA-4CDE-A9C3-462F3B6F40F6}" type="presParOf" srcId="{6B050408-9C32-724B-B50B-C759B83C7008}" destId="{C52D1841-36E2-9D4B-BC9F-A24074B8AAD3}" srcOrd="0" destOrd="0" presId="urn:microsoft.com/office/officeart/2005/8/layout/hierarchy4"/>
    <dgm:cxn modelId="{81014835-1188-46A1-9DBB-84E431A71356}"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3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BF0A13"/>
        </a:solidFill>
      </dgm:spPr>
      <dgm:t>
        <a:bodyPr/>
        <a:lstStyle/>
        <a:p>
          <a:r>
            <a:rPr lang="en-US" sz="1200" b="0" i="0" dirty="0" smtClean="0">
              <a:latin typeface="Helvetica Neue Light" charset="0"/>
              <a:ea typeface="Helvetica Neue Light" charset="0"/>
              <a:cs typeface="Helvetica Neue Light" charset="0"/>
            </a:rPr>
            <a:t>Big R</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rgbClr val="EB781D"/>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BF818B2D-1395-DD45-AE47-FCD63B94F723}">
      <dgm:prSet/>
      <dgm:spPr>
        <a:solidFill>
          <a:srgbClr val="1DA083"/>
        </a:solidFill>
      </dgm:spPr>
      <dgm:t>
        <a:bodyPr/>
        <a:lstStyle/>
        <a:p>
          <a:endParaRPr lang="en-US" dirty="0"/>
        </a:p>
      </dgm:t>
    </dgm:pt>
    <dgm:pt modelId="{C7211ED2-5743-6642-990B-0A51157BE98B}" type="parTrans" cxnId="{5D0CDB1D-D3F7-7247-9F5D-1F7E7E66D6CA}">
      <dgm:prSet/>
      <dgm:spPr/>
      <dgm:t>
        <a:bodyPr/>
        <a:lstStyle/>
        <a:p>
          <a:endParaRPr lang="en-US"/>
        </a:p>
      </dgm:t>
    </dgm:pt>
    <dgm:pt modelId="{D51C0B96-6612-0B46-ACFF-68BA0CABA230}" type="sibTrans" cxnId="{5D0CDB1D-D3F7-7247-9F5D-1F7E7E66D6CA}">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8" custScaleX="11791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77842F98-C999-F444-B235-5E84E3EC7162}" type="pres">
      <dgm:prSet presAssocID="{BF818B2D-1395-DD45-AE47-FCD63B94F723}" presName="vertOne" presStyleCnt="0"/>
      <dgm:spPr/>
    </dgm:pt>
    <dgm:pt modelId="{6A6AC99F-0DD6-2B4E-90B9-8D4EF6A8608F}" type="pres">
      <dgm:prSet presAssocID="{BF818B2D-1395-DD45-AE47-FCD63B94F723}" presName="txOne" presStyleLbl="node0" presStyleIdx="1" presStyleCnt="8" custScaleX="34072">
        <dgm:presLayoutVars>
          <dgm:chPref val="3"/>
        </dgm:presLayoutVars>
      </dgm:prSet>
      <dgm:spPr/>
      <dgm:t>
        <a:bodyPr/>
        <a:lstStyle/>
        <a:p>
          <a:endParaRPr lang="en-US"/>
        </a:p>
      </dgm:t>
    </dgm:pt>
    <dgm:pt modelId="{CDBA27F0-F0AF-504E-A92D-D8F63A79C420}" type="pres">
      <dgm:prSet presAssocID="{BF818B2D-1395-DD45-AE47-FCD63B94F723}" presName="horzOne" presStyleCnt="0"/>
      <dgm:spPr/>
    </dgm:pt>
    <dgm:pt modelId="{7ECC6899-967D-BA4A-BD41-EAC12F2672BB}" type="pres">
      <dgm:prSet presAssocID="{D51C0B96-6612-0B46-ACFF-68BA0CABA230}"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2" presStyleCnt="8"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3" presStyleCnt="8"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4" presStyleCnt="8"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5" presStyleCnt="8"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6" presStyleCnt="8"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7" presStyleCnt="8"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E416E435-3F1E-4D12-A821-A9C008ECA429}" type="presOf" srcId="{2F9F089B-6CDE-3644-A71A-A5129F9689C7}" destId="{FF7A9D10-FC52-814C-BC88-3CB8D987E563}" srcOrd="0" destOrd="0" presId="urn:microsoft.com/office/officeart/2005/8/layout/hierarchy4"/>
    <dgm:cxn modelId="{D27ADF16-99A9-463E-B122-2F20CEFA2609}" type="presOf" srcId="{40BD6C83-8F9F-5A4F-9687-09C767822952}" destId="{97B909D6-A9F8-ED48-8A1A-010B75477D74}" srcOrd="0" destOrd="0" presId="urn:microsoft.com/office/officeart/2005/8/layout/hierarchy4"/>
    <dgm:cxn modelId="{7B7936C9-EE18-6641-B47C-71C825F154DB}" srcId="{FC8E4F8A-67E5-2045-9D5E-3FC794334922}" destId="{FB0B53D9-195C-E342-956D-F618DF62762F}" srcOrd="4" destOrd="0" parTransId="{B5CA3A2B-F6F0-1D4F-9108-A123E5BB82B2}" sibTransId="{A0F1DF69-79A4-5A4A-B4FE-EBD450354025}"/>
    <dgm:cxn modelId="{E32A4819-DA2E-2F47-A2F5-682D672333AE}" srcId="{FC8E4F8A-67E5-2045-9D5E-3FC794334922}" destId="{027B2473-40A2-3B43-B43F-38DEED3C23F6}" srcOrd="5" destOrd="0" parTransId="{BA77F311-3B04-B247-B68A-70B04552A3DE}" sibTransId="{2091BAEF-6F31-D84F-97CC-2ECF5B035F26}"/>
    <dgm:cxn modelId="{E432DE1D-93B2-4659-B75F-1714AC757091}" type="presOf" srcId="{B791BFEE-811F-614D-9E2F-A9E3C1B09519}" destId="{71EFDBA4-FD34-C04D-A343-12FFAAA2219C}" srcOrd="0" destOrd="0" presId="urn:microsoft.com/office/officeart/2005/8/layout/hierarchy4"/>
    <dgm:cxn modelId="{F3237E95-A148-4A43-B489-A08262A56B52}" type="presOf" srcId="{FC8E4F8A-67E5-2045-9D5E-3FC794334922}" destId="{07F2754C-E745-394E-B448-01F146E9A49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5D0CDB1D-D3F7-7247-9F5D-1F7E7E66D6CA}" srcId="{FC8E4F8A-67E5-2045-9D5E-3FC794334922}" destId="{BF818B2D-1395-DD45-AE47-FCD63B94F723}" srcOrd="1" destOrd="0" parTransId="{C7211ED2-5743-6642-990B-0A51157BE98B}" sibTransId="{D51C0B96-6612-0B46-ACFF-68BA0CABA230}"/>
    <dgm:cxn modelId="{459333A1-76FB-7240-A9C0-38963D44CF8B}" srcId="{FC8E4F8A-67E5-2045-9D5E-3FC794334922}" destId="{40BD6C83-8F9F-5A4F-9687-09C767822952}" srcOrd="2" destOrd="0" parTransId="{A5D03699-D068-F54C-826D-09B305F306A4}" sibTransId="{AFC67590-308D-5B41-84B9-2376F08D1780}"/>
    <dgm:cxn modelId="{99495A53-B1A4-E54A-BDED-90569695457E}" srcId="{FC8E4F8A-67E5-2045-9D5E-3FC794334922}" destId="{D459B528-A2E8-9D40-B9F3-A1953FDF22D7}" srcOrd="7" destOrd="0" parTransId="{D4349E50-BD21-A443-89BC-5D8432335ADC}" sibTransId="{1EB380D0-5C93-FD4B-AEC0-2890B45444BD}"/>
    <dgm:cxn modelId="{1AE95D61-E881-42B1-BAC1-7FD1997D8247}" type="presOf" srcId="{BF818B2D-1395-DD45-AE47-FCD63B94F723}" destId="{6A6AC99F-0DD6-2B4E-90B9-8D4EF6A8608F}" srcOrd="0" destOrd="0" presId="urn:microsoft.com/office/officeart/2005/8/layout/hierarchy4"/>
    <dgm:cxn modelId="{78B732C7-9D8C-416E-A84D-2A090066AE67}" type="presOf" srcId="{027B2473-40A2-3B43-B43F-38DEED3C23F6}" destId="{D73A2411-5BF3-5048-8FDD-2AA7C8DF38E0}" srcOrd="0" destOrd="0" presId="urn:microsoft.com/office/officeart/2005/8/layout/hierarchy4"/>
    <dgm:cxn modelId="{79788710-6F2B-40C6-B60F-9F779DAFE9D9}" type="presOf" srcId="{D459B528-A2E8-9D40-B9F3-A1953FDF22D7}" destId="{C52D1841-36E2-9D4B-BC9F-A24074B8AAD3}" srcOrd="0" destOrd="0" presId="urn:microsoft.com/office/officeart/2005/8/layout/hierarchy4"/>
    <dgm:cxn modelId="{D5A212E3-513B-5C4C-978D-179B0697EB27}" srcId="{FC8E4F8A-67E5-2045-9D5E-3FC794334922}" destId="{E3485FBA-95F2-054A-AEC2-229E0DA3A15E}" srcOrd="3" destOrd="0" parTransId="{12E1C44F-7698-124D-8B08-8F60057B054D}" sibTransId="{2AC2EF0C-2EE3-6640-A796-8994BF99D979}"/>
    <dgm:cxn modelId="{EBE28BA0-EFBE-6E4F-B4BB-288E02289E0D}" srcId="{FC8E4F8A-67E5-2045-9D5E-3FC794334922}" destId="{B791BFEE-811F-614D-9E2F-A9E3C1B09519}" srcOrd="6" destOrd="0" parTransId="{61DC409F-BF87-F247-A67F-21096AD9CFD3}" sibTransId="{585B9CB7-8FB4-D94F-979B-A2F34A126751}"/>
    <dgm:cxn modelId="{FE4F8EDE-BCC2-4559-9BCE-C1E09486CA8F}" type="presOf" srcId="{FB0B53D9-195C-E342-956D-F618DF62762F}" destId="{027D962D-2EA5-464F-827D-5FE1D8B618A1}" srcOrd="0" destOrd="0" presId="urn:microsoft.com/office/officeart/2005/8/layout/hierarchy4"/>
    <dgm:cxn modelId="{970192E0-6436-4423-B33B-59BE5FFE01FE}" type="presOf" srcId="{E3485FBA-95F2-054A-AEC2-229E0DA3A15E}" destId="{A97B6EE3-C913-9249-9BB0-F869F56702F9}" srcOrd="0" destOrd="0" presId="urn:microsoft.com/office/officeart/2005/8/layout/hierarchy4"/>
    <dgm:cxn modelId="{2EBA6A8F-94F1-44A1-8280-860E554F05F6}" type="presParOf" srcId="{07F2754C-E745-394E-B448-01F146E9A493}" destId="{72BF7568-AE61-D44D-B503-BA1B66CA9BB1}" srcOrd="0" destOrd="0" presId="urn:microsoft.com/office/officeart/2005/8/layout/hierarchy4"/>
    <dgm:cxn modelId="{4A42C59F-5D73-4053-ABAE-851C990925B6}" type="presParOf" srcId="{72BF7568-AE61-D44D-B503-BA1B66CA9BB1}" destId="{FF7A9D10-FC52-814C-BC88-3CB8D987E563}" srcOrd="0" destOrd="0" presId="urn:microsoft.com/office/officeart/2005/8/layout/hierarchy4"/>
    <dgm:cxn modelId="{60FCFE25-F806-4204-89D2-8DCDF8225F31}" type="presParOf" srcId="{72BF7568-AE61-D44D-B503-BA1B66CA9BB1}" destId="{45E330AC-B148-B345-9481-A07AB4710ACD}" srcOrd="1" destOrd="0" presId="urn:microsoft.com/office/officeart/2005/8/layout/hierarchy4"/>
    <dgm:cxn modelId="{E4AD2911-85DF-48EF-B8E5-3558A03EF7AF}" type="presParOf" srcId="{07F2754C-E745-394E-B448-01F146E9A493}" destId="{18C604F1-C22A-4E48-89B9-E1871522632F}" srcOrd="1" destOrd="0" presId="urn:microsoft.com/office/officeart/2005/8/layout/hierarchy4"/>
    <dgm:cxn modelId="{87F5A7A5-CEA7-47FA-951D-40BBD3153102}" type="presParOf" srcId="{07F2754C-E745-394E-B448-01F146E9A493}" destId="{77842F98-C999-F444-B235-5E84E3EC7162}" srcOrd="2" destOrd="0" presId="urn:microsoft.com/office/officeart/2005/8/layout/hierarchy4"/>
    <dgm:cxn modelId="{4F322C03-1F84-464E-B0AA-0A219A7802F3}" type="presParOf" srcId="{77842F98-C999-F444-B235-5E84E3EC7162}" destId="{6A6AC99F-0DD6-2B4E-90B9-8D4EF6A8608F}" srcOrd="0" destOrd="0" presId="urn:microsoft.com/office/officeart/2005/8/layout/hierarchy4"/>
    <dgm:cxn modelId="{3E29622D-D8C3-4845-B2A7-C61B2874C16E}" type="presParOf" srcId="{77842F98-C999-F444-B235-5E84E3EC7162}" destId="{CDBA27F0-F0AF-504E-A92D-D8F63A79C420}" srcOrd="1" destOrd="0" presId="urn:microsoft.com/office/officeart/2005/8/layout/hierarchy4"/>
    <dgm:cxn modelId="{53F8AFD8-C269-44E7-97EB-D7DCB0B82E0F}" type="presParOf" srcId="{07F2754C-E745-394E-B448-01F146E9A493}" destId="{7ECC6899-967D-BA4A-BD41-EAC12F2672BB}" srcOrd="3" destOrd="0" presId="urn:microsoft.com/office/officeart/2005/8/layout/hierarchy4"/>
    <dgm:cxn modelId="{81332FDF-EB2F-4281-B23D-49A37E862FD5}" type="presParOf" srcId="{07F2754C-E745-394E-B448-01F146E9A493}" destId="{1211B795-63B4-6D42-83DC-8DE364644B0A}" srcOrd="4" destOrd="0" presId="urn:microsoft.com/office/officeart/2005/8/layout/hierarchy4"/>
    <dgm:cxn modelId="{4F409732-B04D-4E37-A682-F27C1ED31FD9}" type="presParOf" srcId="{1211B795-63B4-6D42-83DC-8DE364644B0A}" destId="{97B909D6-A9F8-ED48-8A1A-010B75477D74}" srcOrd="0" destOrd="0" presId="urn:microsoft.com/office/officeart/2005/8/layout/hierarchy4"/>
    <dgm:cxn modelId="{71F061B6-6EF3-426A-ACA9-5D2B7CBC6AB5}" type="presParOf" srcId="{1211B795-63B4-6D42-83DC-8DE364644B0A}" destId="{E81ECE34-0A05-A84B-BC4B-0F895A797FB2}" srcOrd="1" destOrd="0" presId="urn:microsoft.com/office/officeart/2005/8/layout/hierarchy4"/>
    <dgm:cxn modelId="{FB254797-78F0-4AE5-BF14-FAE0C7634E8C}" type="presParOf" srcId="{07F2754C-E745-394E-B448-01F146E9A493}" destId="{C2811CAA-C3FE-204F-B5D5-68D40BF1F1E7}" srcOrd="5" destOrd="0" presId="urn:microsoft.com/office/officeart/2005/8/layout/hierarchy4"/>
    <dgm:cxn modelId="{AF919697-CE87-46BD-9AFD-F34BC8ABDFC1}" type="presParOf" srcId="{07F2754C-E745-394E-B448-01F146E9A493}" destId="{4F740ECE-EE3A-3C41-991C-EA6F60703047}" srcOrd="6" destOrd="0" presId="urn:microsoft.com/office/officeart/2005/8/layout/hierarchy4"/>
    <dgm:cxn modelId="{42E403DD-7F04-4E47-B19A-60E0DE97EAC5}" type="presParOf" srcId="{4F740ECE-EE3A-3C41-991C-EA6F60703047}" destId="{A97B6EE3-C913-9249-9BB0-F869F56702F9}" srcOrd="0" destOrd="0" presId="urn:microsoft.com/office/officeart/2005/8/layout/hierarchy4"/>
    <dgm:cxn modelId="{60834CCD-71E8-4A16-9C45-52FFF44217B8}" type="presParOf" srcId="{4F740ECE-EE3A-3C41-991C-EA6F60703047}" destId="{576DEBAB-9492-7148-B255-B69B39AEEFD5}" srcOrd="1" destOrd="0" presId="urn:microsoft.com/office/officeart/2005/8/layout/hierarchy4"/>
    <dgm:cxn modelId="{A4B6104A-5D73-4F99-A53B-5B28AF2F5383}" type="presParOf" srcId="{07F2754C-E745-394E-B448-01F146E9A493}" destId="{3E3E1513-051B-D747-9578-5157F0BD2606}" srcOrd="7" destOrd="0" presId="urn:microsoft.com/office/officeart/2005/8/layout/hierarchy4"/>
    <dgm:cxn modelId="{37B52D7D-F3FB-4D28-AB72-EB55DBF42D67}" type="presParOf" srcId="{07F2754C-E745-394E-B448-01F146E9A493}" destId="{2349EFCC-D6EF-F14F-8F03-59B42D87120C}" srcOrd="8" destOrd="0" presId="urn:microsoft.com/office/officeart/2005/8/layout/hierarchy4"/>
    <dgm:cxn modelId="{FC8999A5-D31C-49E0-8BB6-86915A6F6BB4}" type="presParOf" srcId="{2349EFCC-D6EF-F14F-8F03-59B42D87120C}" destId="{027D962D-2EA5-464F-827D-5FE1D8B618A1}" srcOrd="0" destOrd="0" presId="urn:microsoft.com/office/officeart/2005/8/layout/hierarchy4"/>
    <dgm:cxn modelId="{24BCF690-8221-418F-8102-DAC8FA95F378}" type="presParOf" srcId="{2349EFCC-D6EF-F14F-8F03-59B42D87120C}" destId="{5D52124E-E701-A14E-978B-675C86D7D941}" srcOrd="1" destOrd="0" presId="urn:microsoft.com/office/officeart/2005/8/layout/hierarchy4"/>
    <dgm:cxn modelId="{55719B29-D644-470E-8C49-EDACAD961D4F}" type="presParOf" srcId="{07F2754C-E745-394E-B448-01F146E9A493}" destId="{93302620-31AB-4744-93E7-EAF6C7A77D6E}" srcOrd="9" destOrd="0" presId="urn:microsoft.com/office/officeart/2005/8/layout/hierarchy4"/>
    <dgm:cxn modelId="{990F8369-89F9-4DF9-AE45-1F758710781A}" type="presParOf" srcId="{07F2754C-E745-394E-B448-01F146E9A493}" destId="{79A592FD-AF06-9642-8007-09D471248D33}" srcOrd="10" destOrd="0" presId="urn:microsoft.com/office/officeart/2005/8/layout/hierarchy4"/>
    <dgm:cxn modelId="{81A82D2F-D40C-4FA4-92A9-4C21B461BC66}" type="presParOf" srcId="{79A592FD-AF06-9642-8007-09D471248D33}" destId="{D73A2411-5BF3-5048-8FDD-2AA7C8DF38E0}" srcOrd="0" destOrd="0" presId="urn:microsoft.com/office/officeart/2005/8/layout/hierarchy4"/>
    <dgm:cxn modelId="{5FDC14AC-F924-4989-854F-80F76F4C5166}" type="presParOf" srcId="{79A592FD-AF06-9642-8007-09D471248D33}" destId="{A5B95F44-F627-F14E-A903-667E3E942B16}" srcOrd="1" destOrd="0" presId="urn:microsoft.com/office/officeart/2005/8/layout/hierarchy4"/>
    <dgm:cxn modelId="{D6FCA9FD-D1E0-4690-9A92-76C26AD20938}" type="presParOf" srcId="{07F2754C-E745-394E-B448-01F146E9A493}" destId="{236AC1D0-3375-824D-8FDC-0F1798C4046E}" srcOrd="11" destOrd="0" presId="urn:microsoft.com/office/officeart/2005/8/layout/hierarchy4"/>
    <dgm:cxn modelId="{50484268-AC2C-42E4-95D5-20F5DBACF9C0}" type="presParOf" srcId="{07F2754C-E745-394E-B448-01F146E9A493}" destId="{3E9A3401-CDF7-8E46-87B0-A71177856B62}" srcOrd="12" destOrd="0" presId="urn:microsoft.com/office/officeart/2005/8/layout/hierarchy4"/>
    <dgm:cxn modelId="{F95CC9EB-8569-40B8-A33D-BCCC05400BC1}" type="presParOf" srcId="{3E9A3401-CDF7-8E46-87B0-A71177856B62}" destId="{71EFDBA4-FD34-C04D-A343-12FFAAA2219C}" srcOrd="0" destOrd="0" presId="urn:microsoft.com/office/officeart/2005/8/layout/hierarchy4"/>
    <dgm:cxn modelId="{99218F62-FF9D-4E43-8752-06AC6214004C}" type="presParOf" srcId="{3E9A3401-CDF7-8E46-87B0-A71177856B62}" destId="{500AD90E-E799-0C4E-910B-A97A68C40A9E}" srcOrd="1" destOrd="0" presId="urn:microsoft.com/office/officeart/2005/8/layout/hierarchy4"/>
    <dgm:cxn modelId="{697288A3-3ACF-4C21-B377-B31949929698}" type="presParOf" srcId="{07F2754C-E745-394E-B448-01F146E9A493}" destId="{F70D16F5-85BA-F245-851A-4A66C7DF421D}" srcOrd="13" destOrd="0" presId="urn:microsoft.com/office/officeart/2005/8/layout/hierarchy4"/>
    <dgm:cxn modelId="{439C4532-7BC2-4475-AC3E-3AD99644DB9F}" type="presParOf" srcId="{07F2754C-E745-394E-B448-01F146E9A493}" destId="{6B050408-9C32-724B-B50B-C759B83C7008}" srcOrd="14" destOrd="0" presId="urn:microsoft.com/office/officeart/2005/8/layout/hierarchy4"/>
    <dgm:cxn modelId="{EFC0ADD0-D43F-4891-B371-7215C21AE4C5}" type="presParOf" srcId="{6B050408-9C32-724B-B50B-C759B83C7008}" destId="{C52D1841-36E2-9D4B-BC9F-A24074B8AAD3}" srcOrd="0" destOrd="0" presId="urn:microsoft.com/office/officeart/2005/8/layout/hierarchy4"/>
    <dgm:cxn modelId="{90B406FB-E99E-4F6E-BDC3-29B52E403B85}"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4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Lst>
  <dgm:cxnLst>
    <dgm:cxn modelId="{D9497A71-D7F4-447E-B6DC-4AD1552A3016}" type="presOf" srcId="{FC8E4F8A-67E5-2045-9D5E-3FC794334922}" destId="{07F2754C-E745-394E-B448-01F146E9A493}" srcOrd="0" destOrd="0" presId="urn:microsoft.com/office/officeart/2005/8/layout/hierarchy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Sheets</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chemeClr val="bg1">
            <a:lumMod val="85000"/>
          </a:schemeClr>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7035C092-1881-4AF9-8708-0CBFC813BFC0}" type="presOf" srcId="{027B2473-40A2-3B43-B43F-38DEED3C23F6}" destId="{D73A2411-5BF3-5048-8FDD-2AA7C8DF38E0}" srcOrd="0" destOrd="0" presId="urn:microsoft.com/office/officeart/2005/8/layout/hierarchy4"/>
    <dgm:cxn modelId="{BAF043F5-0286-4915-A180-54901B8586A4}" type="presOf" srcId="{B791BFEE-811F-614D-9E2F-A9E3C1B09519}" destId="{71EFDBA4-FD34-C04D-A343-12FFAAA2219C}" srcOrd="0" destOrd="0" presId="urn:microsoft.com/office/officeart/2005/8/layout/hierarchy4"/>
    <dgm:cxn modelId="{7B7936C9-EE18-6641-B47C-71C825F154DB}" srcId="{FC8E4F8A-67E5-2045-9D5E-3FC794334922}" destId="{FB0B53D9-195C-E342-956D-F618DF62762F}" srcOrd="3" destOrd="0" parTransId="{B5CA3A2B-F6F0-1D4F-9108-A123E5BB82B2}" sibTransId="{A0F1DF69-79A4-5A4A-B4FE-EBD450354025}"/>
    <dgm:cxn modelId="{E32A4819-DA2E-2F47-A2F5-682D672333AE}" srcId="{FC8E4F8A-67E5-2045-9D5E-3FC794334922}" destId="{027B2473-40A2-3B43-B43F-38DEED3C23F6}" srcOrd="4" destOrd="0" parTransId="{BA77F311-3B04-B247-B68A-70B04552A3DE}" sibTransId="{2091BAEF-6F31-D84F-97CC-2ECF5B035F26}"/>
    <dgm:cxn modelId="{78E785D7-F786-453C-8D0E-9695C2D503B1}" type="presOf" srcId="{2F9F089B-6CDE-3644-A71A-A5129F9689C7}" destId="{FF7A9D10-FC52-814C-BC88-3CB8D987E563}" srcOrd="0" destOrd="0" presId="urn:microsoft.com/office/officeart/2005/8/layout/hierarchy4"/>
    <dgm:cxn modelId="{3A2D295D-2284-4C2A-A7F1-3A3EFC9FB601}" type="presOf" srcId="{D459B528-A2E8-9D40-B9F3-A1953FDF22D7}" destId="{C52D1841-36E2-9D4B-BC9F-A24074B8AAD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39F76FF0-5070-4CF3-A485-BBA8ABEA3660}" type="presOf" srcId="{FB0B53D9-195C-E342-956D-F618DF62762F}" destId="{027D962D-2EA5-464F-827D-5FE1D8B618A1}" srcOrd="0" destOrd="0" presId="urn:microsoft.com/office/officeart/2005/8/layout/hierarchy4"/>
    <dgm:cxn modelId="{EBA9FBB3-449E-4811-9781-52DDE1A57816}" type="presOf" srcId="{FC8E4F8A-67E5-2045-9D5E-3FC794334922}" destId="{07F2754C-E745-394E-B448-01F146E9A493}" srcOrd="0" destOrd="0" presId="urn:microsoft.com/office/officeart/2005/8/layout/hierarchy4"/>
    <dgm:cxn modelId="{459333A1-76FB-7240-A9C0-38963D44CF8B}" srcId="{FC8E4F8A-67E5-2045-9D5E-3FC794334922}" destId="{40BD6C83-8F9F-5A4F-9687-09C767822952}" srcOrd="1" destOrd="0" parTransId="{A5D03699-D068-F54C-826D-09B305F306A4}" sibTransId="{AFC67590-308D-5B41-84B9-2376F08D1780}"/>
    <dgm:cxn modelId="{99495A53-B1A4-E54A-BDED-90569695457E}" srcId="{FC8E4F8A-67E5-2045-9D5E-3FC794334922}" destId="{D459B528-A2E8-9D40-B9F3-A1953FDF22D7}" srcOrd="6" destOrd="0" parTransId="{D4349E50-BD21-A443-89BC-5D8432335ADC}" sibTransId="{1EB380D0-5C93-FD4B-AEC0-2890B45444BD}"/>
    <dgm:cxn modelId="{683D1994-CB3A-474D-8066-61EC7C6C9F06}" type="presOf" srcId="{E3485FBA-95F2-054A-AEC2-229E0DA3A15E}" destId="{A97B6EE3-C913-9249-9BB0-F869F56702F9}" srcOrd="0" destOrd="0" presId="urn:microsoft.com/office/officeart/2005/8/layout/hierarchy4"/>
    <dgm:cxn modelId="{3AAD89A2-4EEC-4C41-9FF2-7ED7B0071E2D}" type="presOf" srcId="{40BD6C83-8F9F-5A4F-9687-09C767822952}" destId="{97B909D6-A9F8-ED48-8A1A-010B75477D74}" srcOrd="0" destOrd="0" presId="urn:microsoft.com/office/officeart/2005/8/layout/hierarchy4"/>
    <dgm:cxn modelId="{D5A212E3-513B-5C4C-978D-179B0697EB27}" srcId="{FC8E4F8A-67E5-2045-9D5E-3FC794334922}" destId="{E3485FBA-95F2-054A-AEC2-229E0DA3A15E}" srcOrd="2" destOrd="0" parTransId="{12E1C44F-7698-124D-8B08-8F60057B054D}" sibTransId="{2AC2EF0C-2EE3-6640-A796-8994BF99D979}"/>
    <dgm:cxn modelId="{EBE28BA0-EFBE-6E4F-B4BB-288E02289E0D}" srcId="{FC8E4F8A-67E5-2045-9D5E-3FC794334922}" destId="{B791BFEE-811F-614D-9E2F-A9E3C1B09519}" srcOrd="5" destOrd="0" parTransId="{61DC409F-BF87-F247-A67F-21096AD9CFD3}" sibTransId="{585B9CB7-8FB4-D94F-979B-A2F34A126751}"/>
    <dgm:cxn modelId="{ADBA500D-AF32-46F6-BD21-D415F12E5E42}" type="presParOf" srcId="{07F2754C-E745-394E-B448-01F146E9A493}" destId="{72BF7568-AE61-D44D-B503-BA1B66CA9BB1}" srcOrd="0" destOrd="0" presId="urn:microsoft.com/office/officeart/2005/8/layout/hierarchy4"/>
    <dgm:cxn modelId="{F99EE2AB-AD50-4B3F-926E-6F9AC48D58FE}" type="presParOf" srcId="{72BF7568-AE61-D44D-B503-BA1B66CA9BB1}" destId="{FF7A9D10-FC52-814C-BC88-3CB8D987E563}" srcOrd="0" destOrd="0" presId="urn:microsoft.com/office/officeart/2005/8/layout/hierarchy4"/>
    <dgm:cxn modelId="{B91BC760-6913-4EFF-8FEE-4DFA3F9545B0}" type="presParOf" srcId="{72BF7568-AE61-D44D-B503-BA1B66CA9BB1}" destId="{45E330AC-B148-B345-9481-A07AB4710ACD}" srcOrd="1" destOrd="0" presId="urn:microsoft.com/office/officeart/2005/8/layout/hierarchy4"/>
    <dgm:cxn modelId="{5580AE50-22D2-488A-861F-F31AC87D0D25}" type="presParOf" srcId="{07F2754C-E745-394E-B448-01F146E9A493}" destId="{18C604F1-C22A-4E48-89B9-E1871522632F}" srcOrd="1" destOrd="0" presId="urn:microsoft.com/office/officeart/2005/8/layout/hierarchy4"/>
    <dgm:cxn modelId="{5DD3E0B0-A16B-4C0C-AF32-0E251CDEF3F8}" type="presParOf" srcId="{07F2754C-E745-394E-B448-01F146E9A493}" destId="{1211B795-63B4-6D42-83DC-8DE364644B0A}" srcOrd="2" destOrd="0" presId="urn:microsoft.com/office/officeart/2005/8/layout/hierarchy4"/>
    <dgm:cxn modelId="{B5C77170-FA8D-4B07-A608-0A59C6246BFD}" type="presParOf" srcId="{1211B795-63B4-6D42-83DC-8DE364644B0A}" destId="{97B909D6-A9F8-ED48-8A1A-010B75477D74}" srcOrd="0" destOrd="0" presId="urn:microsoft.com/office/officeart/2005/8/layout/hierarchy4"/>
    <dgm:cxn modelId="{3780F40C-F2F3-41F5-A780-9243683EAB59}" type="presParOf" srcId="{1211B795-63B4-6D42-83DC-8DE364644B0A}" destId="{E81ECE34-0A05-A84B-BC4B-0F895A797FB2}" srcOrd="1" destOrd="0" presId="urn:microsoft.com/office/officeart/2005/8/layout/hierarchy4"/>
    <dgm:cxn modelId="{12C880CE-8EFC-4DF3-9931-7F098E28E2D0}" type="presParOf" srcId="{07F2754C-E745-394E-B448-01F146E9A493}" destId="{C2811CAA-C3FE-204F-B5D5-68D40BF1F1E7}" srcOrd="3" destOrd="0" presId="urn:microsoft.com/office/officeart/2005/8/layout/hierarchy4"/>
    <dgm:cxn modelId="{32A09B81-29D9-4A65-89CF-B40FED4C661C}" type="presParOf" srcId="{07F2754C-E745-394E-B448-01F146E9A493}" destId="{4F740ECE-EE3A-3C41-991C-EA6F60703047}" srcOrd="4" destOrd="0" presId="urn:microsoft.com/office/officeart/2005/8/layout/hierarchy4"/>
    <dgm:cxn modelId="{E58269E2-A3D2-4C9A-88BE-FC190525558E}" type="presParOf" srcId="{4F740ECE-EE3A-3C41-991C-EA6F60703047}" destId="{A97B6EE3-C913-9249-9BB0-F869F56702F9}" srcOrd="0" destOrd="0" presId="urn:microsoft.com/office/officeart/2005/8/layout/hierarchy4"/>
    <dgm:cxn modelId="{D09C945C-A982-4DC9-9306-200D291B6396}" type="presParOf" srcId="{4F740ECE-EE3A-3C41-991C-EA6F60703047}" destId="{576DEBAB-9492-7148-B255-B69B39AEEFD5}" srcOrd="1" destOrd="0" presId="urn:microsoft.com/office/officeart/2005/8/layout/hierarchy4"/>
    <dgm:cxn modelId="{189823E7-75CB-4F99-A15F-84460AF94DE6}" type="presParOf" srcId="{07F2754C-E745-394E-B448-01F146E9A493}" destId="{3E3E1513-051B-D747-9578-5157F0BD2606}" srcOrd="5" destOrd="0" presId="urn:microsoft.com/office/officeart/2005/8/layout/hierarchy4"/>
    <dgm:cxn modelId="{375ADFA4-FBAD-433E-AE22-6B87F0B212D2}" type="presParOf" srcId="{07F2754C-E745-394E-B448-01F146E9A493}" destId="{2349EFCC-D6EF-F14F-8F03-59B42D87120C}" srcOrd="6" destOrd="0" presId="urn:microsoft.com/office/officeart/2005/8/layout/hierarchy4"/>
    <dgm:cxn modelId="{9DD05B4D-3E4F-4DF7-B8AE-704C1031AC78}" type="presParOf" srcId="{2349EFCC-D6EF-F14F-8F03-59B42D87120C}" destId="{027D962D-2EA5-464F-827D-5FE1D8B618A1}" srcOrd="0" destOrd="0" presId="urn:microsoft.com/office/officeart/2005/8/layout/hierarchy4"/>
    <dgm:cxn modelId="{B3988ECB-93C4-4C1C-95B0-E5531CDA250A}" type="presParOf" srcId="{2349EFCC-D6EF-F14F-8F03-59B42D87120C}" destId="{5D52124E-E701-A14E-978B-675C86D7D941}" srcOrd="1" destOrd="0" presId="urn:microsoft.com/office/officeart/2005/8/layout/hierarchy4"/>
    <dgm:cxn modelId="{5AD1B430-1F20-49AA-A558-6F8AF0FEAD89}" type="presParOf" srcId="{07F2754C-E745-394E-B448-01F146E9A493}" destId="{93302620-31AB-4744-93E7-EAF6C7A77D6E}" srcOrd="7" destOrd="0" presId="urn:microsoft.com/office/officeart/2005/8/layout/hierarchy4"/>
    <dgm:cxn modelId="{5314A90E-C366-4803-8006-E708D364FD28}" type="presParOf" srcId="{07F2754C-E745-394E-B448-01F146E9A493}" destId="{79A592FD-AF06-9642-8007-09D471248D33}" srcOrd="8" destOrd="0" presId="urn:microsoft.com/office/officeart/2005/8/layout/hierarchy4"/>
    <dgm:cxn modelId="{FD6F9655-6686-4867-BAE6-51EBEC0C8254}" type="presParOf" srcId="{79A592FD-AF06-9642-8007-09D471248D33}" destId="{D73A2411-5BF3-5048-8FDD-2AA7C8DF38E0}" srcOrd="0" destOrd="0" presId="urn:microsoft.com/office/officeart/2005/8/layout/hierarchy4"/>
    <dgm:cxn modelId="{03FD7D1E-B260-4ACF-9B05-F124A935ECAC}" type="presParOf" srcId="{79A592FD-AF06-9642-8007-09D471248D33}" destId="{A5B95F44-F627-F14E-A903-667E3E942B16}" srcOrd="1" destOrd="0" presId="urn:microsoft.com/office/officeart/2005/8/layout/hierarchy4"/>
    <dgm:cxn modelId="{6C1E408B-2576-466A-BFA6-CA52DF253DF7}" type="presParOf" srcId="{07F2754C-E745-394E-B448-01F146E9A493}" destId="{236AC1D0-3375-824D-8FDC-0F1798C4046E}" srcOrd="9" destOrd="0" presId="urn:microsoft.com/office/officeart/2005/8/layout/hierarchy4"/>
    <dgm:cxn modelId="{29442EF4-ED91-4FDD-8E84-1D6D1820E3A0}" type="presParOf" srcId="{07F2754C-E745-394E-B448-01F146E9A493}" destId="{3E9A3401-CDF7-8E46-87B0-A71177856B62}" srcOrd="10" destOrd="0" presId="urn:microsoft.com/office/officeart/2005/8/layout/hierarchy4"/>
    <dgm:cxn modelId="{AA73D022-3085-4241-8B42-2884E3C6F085}" type="presParOf" srcId="{3E9A3401-CDF7-8E46-87B0-A71177856B62}" destId="{71EFDBA4-FD34-C04D-A343-12FFAAA2219C}" srcOrd="0" destOrd="0" presId="urn:microsoft.com/office/officeart/2005/8/layout/hierarchy4"/>
    <dgm:cxn modelId="{2EC85881-F721-41AE-8449-D9EF7DF463BF}" type="presParOf" srcId="{3E9A3401-CDF7-8E46-87B0-A71177856B62}" destId="{500AD90E-E799-0C4E-910B-A97A68C40A9E}" srcOrd="1" destOrd="0" presId="urn:microsoft.com/office/officeart/2005/8/layout/hierarchy4"/>
    <dgm:cxn modelId="{BEDC0A0F-A578-4957-BB3D-6359F34DE60D}" type="presParOf" srcId="{07F2754C-E745-394E-B448-01F146E9A493}" destId="{F70D16F5-85BA-F245-851A-4A66C7DF421D}" srcOrd="11" destOrd="0" presId="urn:microsoft.com/office/officeart/2005/8/layout/hierarchy4"/>
    <dgm:cxn modelId="{0BF6E520-9D6C-409B-8CF3-338D5F2FB99D}" type="presParOf" srcId="{07F2754C-E745-394E-B448-01F146E9A493}" destId="{6B050408-9C32-724B-B50B-C759B83C7008}" srcOrd="12" destOrd="0" presId="urn:microsoft.com/office/officeart/2005/8/layout/hierarchy4"/>
    <dgm:cxn modelId="{4EE278EC-8D4A-493C-B641-56BF682E167D}" type="presParOf" srcId="{6B050408-9C32-724B-B50B-C759B83C7008}" destId="{C52D1841-36E2-9D4B-BC9F-A24074B8AAD3}" srcOrd="0" destOrd="0" presId="urn:microsoft.com/office/officeart/2005/8/layout/hierarchy4"/>
    <dgm:cxn modelId="{A383B372-8DF0-41DA-B56E-837F1B92907C}"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1DA083"/>
        </a:solidFill>
      </dgm:spPr>
      <dgm:t>
        <a:bodyPr/>
        <a:lstStyle/>
        <a:p>
          <a:r>
            <a:rPr lang="en-US" sz="1200" b="0" i="0" dirty="0" smtClean="0">
              <a:latin typeface="Helvetica Neue Light" charset="0"/>
              <a:ea typeface="Helvetica Neue Light" charset="0"/>
              <a:cs typeface="Helvetica Neue Light" charset="0"/>
            </a:rPr>
            <a:t>Big SQL</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chemeClr val="bg1">
            <a:lumMod val="85000"/>
          </a:schemeClr>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1" presStyleCnt="7"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2" presStyleCnt="7"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3" presStyleCnt="7"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4" presStyleCnt="7"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5" presStyleCnt="7"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6" presStyleCnt="7"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9495A53-B1A4-E54A-BDED-90569695457E}" srcId="{FC8E4F8A-67E5-2045-9D5E-3FC794334922}" destId="{D459B528-A2E8-9D40-B9F3-A1953FDF22D7}" srcOrd="6" destOrd="0" parTransId="{D4349E50-BD21-A443-89BC-5D8432335ADC}" sibTransId="{1EB380D0-5C93-FD4B-AEC0-2890B45444BD}"/>
    <dgm:cxn modelId="{459333A1-76FB-7240-A9C0-38963D44CF8B}" srcId="{FC8E4F8A-67E5-2045-9D5E-3FC794334922}" destId="{40BD6C83-8F9F-5A4F-9687-09C767822952}" srcOrd="1" destOrd="0" parTransId="{A5D03699-D068-F54C-826D-09B305F306A4}" sibTransId="{AFC67590-308D-5B41-84B9-2376F08D1780}"/>
    <dgm:cxn modelId="{1D6E148E-D485-403D-8E72-01EAA79CFF06}" type="presOf" srcId="{FB0B53D9-195C-E342-956D-F618DF62762F}" destId="{027D962D-2EA5-464F-827D-5FE1D8B618A1}" srcOrd="0" destOrd="0" presId="urn:microsoft.com/office/officeart/2005/8/layout/hierarchy4"/>
    <dgm:cxn modelId="{9C0C9707-B76E-4A93-8238-6799E78A5336}" type="presOf" srcId="{40BD6C83-8F9F-5A4F-9687-09C767822952}" destId="{97B909D6-A9F8-ED48-8A1A-010B75477D74}" srcOrd="0" destOrd="0" presId="urn:microsoft.com/office/officeart/2005/8/layout/hierarchy4"/>
    <dgm:cxn modelId="{676C3C89-56EE-454A-B792-6E5E648BE7D1}" type="presOf" srcId="{D459B528-A2E8-9D40-B9F3-A1953FDF22D7}" destId="{C52D1841-36E2-9D4B-BC9F-A24074B8AAD3}" srcOrd="0" destOrd="0" presId="urn:microsoft.com/office/officeart/2005/8/layout/hierarchy4"/>
    <dgm:cxn modelId="{15EDCAC5-884D-463B-8A2D-ADC460A629E6}" type="presOf" srcId="{2F9F089B-6CDE-3644-A71A-A5129F9689C7}" destId="{FF7A9D10-FC52-814C-BC88-3CB8D987E563}" srcOrd="0" destOrd="0" presId="urn:microsoft.com/office/officeart/2005/8/layout/hierarchy4"/>
    <dgm:cxn modelId="{4B36FEB1-F246-4B98-A91C-33D1169FC8B7}" type="presOf" srcId="{B791BFEE-811F-614D-9E2F-A9E3C1B09519}" destId="{71EFDBA4-FD34-C04D-A343-12FFAAA2219C}" srcOrd="0" destOrd="0" presId="urn:microsoft.com/office/officeart/2005/8/layout/hierarchy4"/>
    <dgm:cxn modelId="{F93C18E6-5413-4755-ADC6-055B536BCB56}" type="presOf" srcId="{E3485FBA-95F2-054A-AEC2-229E0DA3A15E}" destId="{A97B6EE3-C913-9249-9BB0-F869F56702F9}" srcOrd="0" destOrd="0" presId="urn:microsoft.com/office/officeart/2005/8/layout/hierarchy4"/>
    <dgm:cxn modelId="{7B7936C9-EE18-6641-B47C-71C825F154DB}" srcId="{FC8E4F8A-67E5-2045-9D5E-3FC794334922}" destId="{FB0B53D9-195C-E342-956D-F618DF62762F}" srcOrd="3" destOrd="0" parTransId="{B5CA3A2B-F6F0-1D4F-9108-A123E5BB82B2}" sibTransId="{A0F1DF69-79A4-5A4A-B4FE-EBD450354025}"/>
    <dgm:cxn modelId="{EBE28BA0-EFBE-6E4F-B4BB-288E02289E0D}" srcId="{FC8E4F8A-67E5-2045-9D5E-3FC794334922}" destId="{B791BFEE-811F-614D-9E2F-A9E3C1B09519}" srcOrd="5" destOrd="0" parTransId="{61DC409F-BF87-F247-A67F-21096AD9CFD3}" sibTransId="{585B9CB7-8FB4-D94F-979B-A2F34A126751}"/>
    <dgm:cxn modelId="{35DBFE7E-FFF8-49D4-8E43-C1761B04E4E8}" type="presOf" srcId="{FC8E4F8A-67E5-2045-9D5E-3FC794334922}" destId="{07F2754C-E745-394E-B448-01F146E9A493}" srcOrd="0" destOrd="0" presId="urn:microsoft.com/office/officeart/2005/8/layout/hierarchy4"/>
    <dgm:cxn modelId="{25F7F326-E45B-4A93-84DC-C250A8133CF6}" type="presOf" srcId="{027B2473-40A2-3B43-B43F-38DEED3C23F6}" destId="{D73A2411-5BF3-5048-8FDD-2AA7C8DF38E0}"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2" destOrd="0" parTransId="{12E1C44F-7698-124D-8B08-8F60057B054D}" sibTransId="{2AC2EF0C-2EE3-6640-A796-8994BF99D979}"/>
    <dgm:cxn modelId="{E32A4819-DA2E-2F47-A2F5-682D672333AE}" srcId="{FC8E4F8A-67E5-2045-9D5E-3FC794334922}" destId="{027B2473-40A2-3B43-B43F-38DEED3C23F6}" srcOrd="4" destOrd="0" parTransId="{BA77F311-3B04-B247-B68A-70B04552A3DE}" sibTransId="{2091BAEF-6F31-D84F-97CC-2ECF5B035F26}"/>
    <dgm:cxn modelId="{09AB1D32-B0BC-47EF-9543-D09E4C37AE96}" type="presParOf" srcId="{07F2754C-E745-394E-B448-01F146E9A493}" destId="{72BF7568-AE61-D44D-B503-BA1B66CA9BB1}" srcOrd="0" destOrd="0" presId="urn:microsoft.com/office/officeart/2005/8/layout/hierarchy4"/>
    <dgm:cxn modelId="{B977F3B9-4F60-4E16-9F5D-59488F829AE4}" type="presParOf" srcId="{72BF7568-AE61-D44D-B503-BA1B66CA9BB1}" destId="{FF7A9D10-FC52-814C-BC88-3CB8D987E563}" srcOrd="0" destOrd="0" presId="urn:microsoft.com/office/officeart/2005/8/layout/hierarchy4"/>
    <dgm:cxn modelId="{57593713-C5CA-450F-AE15-6FA66A4D24AE}" type="presParOf" srcId="{72BF7568-AE61-D44D-B503-BA1B66CA9BB1}" destId="{45E330AC-B148-B345-9481-A07AB4710ACD}" srcOrd="1" destOrd="0" presId="urn:microsoft.com/office/officeart/2005/8/layout/hierarchy4"/>
    <dgm:cxn modelId="{7981EFCA-DEC0-4FDC-BF0A-A379289FF7E3}" type="presParOf" srcId="{07F2754C-E745-394E-B448-01F146E9A493}" destId="{18C604F1-C22A-4E48-89B9-E1871522632F}" srcOrd="1" destOrd="0" presId="urn:microsoft.com/office/officeart/2005/8/layout/hierarchy4"/>
    <dgm:cxn modelId="{3E0EFE7B-2B55-4DE1-BD92-4FE4E2F6673D}" type="presParOf" srcId="{07F2754C-E745-394E-B448-01F146E9A493}" destId="{1211B795-63B4-6D42-83DC-8DE364644B0A}" srcOrd="2" destOrd="0" presId="urn:microsoft.com/office/officeart/2005/8/layout/hierarchy4"/>
    <dgm:cxn modelId="{89B702A5-6E22-42F7-9C14-D71AA7AA045C}" type="presParOf" srcId="{1211B795-63B4-6D42-83DC-8DE364644B0A}" destId="{97B909D6-A9F8-ED48-8A1A-010B75477D74}" srcOrd="0" destOrd="0" presId="urn:microsoft.com/office/officeart/2005/8/layout/hierarchy4"/>
    <dgm:cxn modelId="{C13ED2FA-BCDE-4810-8578-F271E053D321}" type="presParOf" srcId="{1211B795-63B4-6D42-83DC-8DE364644B0A}" destId="{E81ECE34-0A05-A84B-BC4B-0F895A797FB2}" srcOrd="1" destOrd="0" presId="urn:microsoft.com/office/officeart/2005/8/layout/hierarchy4"/>
    <dgm:cxn modelId="{7CD37F48-105D-46EB-AE0D-68F9B195E0FE}" type="presParOf" srcId="{07F2754C-E745-394E-B448-01F146E9A493}" destId="{C2811CAA-C3FE-204F-B5D5-68D40BF1F1E7}" srcOrd="3" destOrd="0" presId="urn:microsoft.com/office/officeart/2005/8/layout/hierarchy4"/>
    <dgm:cxn modelId="{97D1D0EC-5190-483B-AA48-DF568E6DBFEB}" type="presParOf" srcId="{07F2754C-E745-394E-B448-01F146E9A493}" destId="{4F740ECE-EE3A-3C41-991C-EA6F60703047}" srcOrd="4" destOrd="0" presId="urn:microsoft.com/office/officeart/2005/8/layout/hierarchy4"/>
    <dgm:cxn modelId="{384460E0-304C-4EAF-AB71-6929E83F919D}" type="presParOf" srcId="{4F740ECE-EE3A-3C41-991C-EA6F60703047}" destId="{A97B6EE3-C913-9249-9BB0-F869F56702F9}" srcOrd="0" destOrd="0" presId="urn:microsoft.com/office/officeart/2005/8/layout/hierarchy4"/>
    <dgm:cxn modelId="{3153DDBA-AA58-4F27-BDF2-3ECCD72DF85C}" type="presParOf" srcId="{4F740ECE-EE3A-3C41-991C-EA6F60703047}" destId="{576DEBAB-9492-7148-B255-B69B39AEEFD5}" srcOrd="1" destOrd="0" presId="urn:microsoft.com/office/officeart/2005/8/layout/hierarchy4"/>
    <dgm:cxn modelId="{3C924C02-5014-4549-8720-0A28255075E4}" type="presParOf" srcId="{07F2754C-E745-394E-B448-01F146E9A493}" destId="{3E3E1513-051B-D747-9578-5157F0BD2606}" srcOrd="5" destOrd="0" presId="urn:microsoft.com/office/officeart/2005/8/layout/hierarchy4"/>
    <dgm:cxn modelId="{02E439AE-E430-426C-A18C-887EE4828564}" type="presParOf" srcId="{07F2754C-E745-394E-B448-01F146E9A493}" destId="{2349EFCC-D6EF-F14F-8F03-59B42D87120C}" srcOrd="6" destOrd="0" presId="urn:microsoft.com/office/officeart/2005/8/layout/hierarchy4"/>
    <dgm:cxn modelId="{BA4304DF-7736-4909-A400-B423750F4579}" type="presParOf" srcId="{2349EFCC-D6EF-F14F-8F03-59B42D87120C}" destId="{027D962D-2EA5-464F-827D-5FE1D8B618A1}" srcOrd="0" destOrd="0" presId="urn:microsoft.com/office/officeart/2005/8/layout/hierarchy4"/>
    <dgm:cxn modelId="{E4EE0793-F6E0-4226-9622-33A4736AD4E4}" type="presParOf" srcId="{2349EFCC-D6EF-F14F-8F03-59B42D87120C}" destId="{5D52124E-E701-A14E-978B-675C86D7D941}" srcOrd="1" destOrd="0" presId="urn:microsoft.com/office/officeart/2005/8/layout/hierarchy4"/>
    <dgm:cxn modelId="{80539B07-1EB6-4742-84E5-73EFD10EACB3}" type="presParOf" srcId="{07F2754C-E745-394E-B448-01F146E9A493}" destId="{93302620-31AB-4744-93E7-EAF6C7A77D6E}" srcOrd="7" destOrd="0" presId="urn:microsoft.com/office/officeart/2005/8/layout/hierarchy4"/>
    <dgm:cxn modelId="{C12432F2-AAEE-48AC-A73F-35793793AD0C}" type="presParOf" srcId="{07F2754C-E745-394E-B448-01F146E9A493}" destId="{79A592FD-AF06-9642-8007-09D471248D33}" srcOrd="8" destOrd="0" presId="urn:microsoft.com/office/officeart/2005/8/layout/hierarchy4"/>
    <dgm:cxn modelId="{3C164557-293B-4FE2-B91D-15270CE38263}" type="presParOf" srcId="{79A592FD-AF06-9642-8007-09D471248D33}" destId="{D73A2411-5BF3-5048-8FDD-2AA7C8DF38E0}" srcOrd="0" destOrd="0" presId="urn:microsoft.com/office/officeart/2005/8/layout/hierarchy4"/>
    <dgm:cxn modelId="{FBF52D13-8F37-4184-9F68-F3DFC782E645}" type="presParOf" srcId="{79A592FD-AF06-9642-8007-09D471248D33}" destId="{A5B95F44-F627-F14E-A903-667E3E942B16}" srcOrd="1" destOrd="0" presId="urn:microsoft.com/office/officeart/2005/8/layout/hierarchy4"/>
    <dgm:cxn modelId="{7E1E906F-0D13-456E-9234-EDF62B5299FD}" type="presParOf" srcId="{07F2754C-E745-394E-B448-01F146E9A493}" destId="{236AC1D0-3375-824D-8FDC-0F1798C4046E}" srcOrd="9" destOrd="0" presId="urn:microsoft.com/office/officeart/2005/8/layout/hierarchy4"/>
    <dgm:cxn modelId="{9BD1D750-F3A1-47EE-A686-4735AE81587B}" type="presParOf" srcId="{07F2754C-E745-394E-B448-01F146E9A493}" destId="{3E9A3401-CDF7-8E46-87B0-A71177856B62}" srcOrd="10" destOrd="0" presId="urn:microsoft.com/office/officeart/2005/8/layout/hierarchy4"/>
    <dgm:cxn modelId="{8E4B1A21-25F6-46D2-92A9-33D93B10705E}" type="presParOf" srcId="{3E9A3401-CDF7-8E46-87B0-A71177856B62}" destId="{71EFDBA4-FD34-C04D-A343-12FFAAA2219C}" srcOrd="0" destOrd="0" presId="urn:microsoft.com/office/officeart/2005/8/layout/hierarchy4"/>
    <dgm:cxn modelId="{60DC154D-0FA7-40EB-ABD6-5F2B86963598}" type="presParOf" srcId="{3E9A3401-CDF7-8E46-87B0-A71177856B62}" destId="{500AD90E-E799-0C4E-910B-A97A68C40A9E}" srcOrd="1" destOrd="0" presId="urn:microsoft.com/office/officeart/2005/8/layout/hierarchy4"/>
    <dgm:cxn modelId="{C39676A3-0BBC-4921-8F87-02FCA8847292}" type="presParOf" srcId="{07F2754C-E745-394E-B448-01F146E9A493}" destId="{F70D16F5-85BA-F245-851A-4A66C7DF421D}" srcOrd="11" destOrd="0" presId="urn:microsoft.com/office/officeart/2005/8/layout/hierarchy4"/>
    <dgm:cxn modelId="{0B43229F-6FAF-45E7-8D81-FAB788ADFE2D}" type="presParOf" srcId="{07F2754C-E745-394E-B448-01F146E9A493}" destId="{6B050408-9C32-724B-B50B-C759B83C7008}" srcOrd="12" destOrd="0" presId="urn:microsoft.com/office/officeart/2005/8/layout/hierarchy4"/>
    <dgm:cxn modelId="{08C1F7C2-F3A8-47CE-8034-C3325277E4CF}" type="presParOf" srcId="{6B050408-9C32-724B-B50B-C759B83C7008}" destId="{C52D1841-36E2-9D4B-BC9F-A24074B8AAD3}" srcOrd="0" destOrd="0" presId="urn:microsoft.com/office/officeart/2005/8/layout/hierarchy4"/>
    <dgm:cxn modelId="{2336B909-375C-40F0-B758-CF9E0D3DA598}"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Lst>
  <dgm:cxnLst>
    <dgm:cxn modelId="{AD0C5CF2-E754-49E0-94AD-80A9C890323F}" type="presOf" srcId="{FC8E4F8A-67E5-2045-9D5E-3FC794334922}" destId="{07F2754C-E745-394E-B448-01F146E9A493}" srcOrd="0" destOrd="0" presId="urn:microsoft.com/office/officeart/2005/8/layout/hierarchy4"/>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BF0A13"/>
        </a:solidFill>
      </dgm:spPr>
      <dgm:t>
        <a:bodyPr/>
        <a:lstStyle/>
        <a:p>
          <a:r>
            <a:rPr lang="en-US" sz="1200" b="0" i="0" dirty="0" smtClean="0">
              <a:latin typeface="Helvetica Neue Light" charset="0"/>
              <a:ea typeface="Helvetica Neue Light" charset="0"/>
              <a:cs typeface="Helvetica Neue Light" charset="0"/>
            </a:rPr>
            <a:t>Machine Learning, </a:t>
          </a:r>
          <a:br>
            <a:rPr lang="en-US" sz="1200" b="0" i="0" dirty="0" smtClean="0">
              <a:latin typeface="Helvetica Neue Light" charset="0"/>
              <a:ea typeface="Helvetica Neue Light" charset="0"/>
              <a:cs typeface="Helvetica Neue Light" charset="0"/>
            </a:rPr>
          </a:br>
          <a:r>
            <a:rPr lang="en-US" sz="1200" b="0" i="0" dirty="0" smtClean="0">
              <a:latin typeface="Helvetica Neue Light" charset="0"/>
              <a:ea typeface="Helvetica Neue Light" charset="0"/>
              <a:cs typeface="Helvetica Neue Light" charset="0"/>
            </a:rPr>
            <a:t>Text Analytics</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chemeClr val="bg1">
            <a:lumMod val="85000"/>
          </a:schemeClr>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BF818B2D-1395-DD45-AE47-FCD63B94F723}">
      <dgm:prSet/>
      <dgm:spPr>
        <a:solidFill>
          <a:schemeClr val="bg1">
            <a:lumMod val="85000"/>
          </a:schemeClr>
        </a:solidFill>
      </dgm:spPr>
      <dgm:t>
        <a:bodyPr/>
        <a:lstStyle/>
        <a:p>
          <a:endParaRPr lang="en-US" dirty="0"/>
        </a:p>
      </dgm:t>
    </dgm:pt>
    <dgm:pt modelId="{C7211ED2-5743-6642-990B-0A51157BE98B}" type="parTrans" cxnId="{5D0CDB1D-D3F7-7247-9F5D-1F7E7E66D6CA}">
      <dgm:prSet/>
      <dgm:spPr/>
      <dgm:t>
        <a:bodyPr/>
        <a:lstStyle/>
        <a:p>
          <a:endParaRPr lang="en-US"/>
        </a:p>
      </dgm:t>
    </dgm:pt>
    <dgm:pt modelId="{D51C0B96-6612-0B46-ACFF-68BA0CABA230}" type="sibTrans" cxnId="{5D0CDB1D-D3F7-7247-9F5D-1F7E7E66D6CA}">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8" custScaleX="11791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77842F98-C999-F444-B235-5E84E3EC7162}" type="pres">
      <dgm:prSet presAssocID="{BF818B2D-1395-DD45-AE47-FCD63B94F723}" presName="vertOne" presStyleCnt="0"/>
      <dgm:spPr/>
    </dgm:pt>
    <dgm:pt modelId="{6A6AC99F-0DD6-2B4E-90B9-8D4EF6A8608F}" type="pres">
      <dgm:prSet presAssocID="{BF818B2D-1395-DD45-AE47-FCD63B94F723}" presName="txOne" presStyleLbl="node0" presStyleIdx="1" presStyleCnt="8" custScaleX="34072">
        <dgm:presLayoutVars>
          <dgm:chPref val="3"/>
        </dgm:presLayoutVars>
      </dgm:prSet>
      <dgm:spPr/>
      <dgm:t>
        <a:bodyPr/>
        <a:lstStyle/>
        <a:p>
          <a:endParaRPr lang="en-US"/>
        </a:p>
      </dgm:t>
    </dgm:pt>
    <dgm:pt modelId="{CDBA27F0-F0AF-504E-A92D-D8F63A79C420}" type="pres">
      <dgm:prSet presAssocID="{BF818B2D-1395-DD45-AE47-FCD63B94F723}" presName="horzOne" presStyleCnt="0"/>
      <dgm:spPr/>
    </dgm:pt>
    <dgm:pt modelId="{7ECC6899-967D-BA4A-BD41-EAC12F2672BB}" type="pres">
      <dgm:prSet presAssocID="{D51C0B96-6612-0B46-ACFF-68BA0CABA230}"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2" presStyleCnt="8"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3" presStyleCnt="8"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4" presStyleCnt="8"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5" presStyleCnt="8"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6" presStyleCnt="8"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7" presStyleCnt="8"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E28491D5-3326-4940-9E20-D61AC8129D25}" type="presOf" srcId="{BF818B2D-1395-DD45-AE47-FCD63B94F723}" destId="{6A6AC99F-0DD6-2B4E-90B9-8D4EF6A8608F}" srcOrd="0" destOrd="0" presId="urn:microsoft.com/office/officeart/2005/8/layout/hierarchy4"/>
    <dgm:cxn modelId="{7B7936C9-EE18-6641-B47C-71C825F154DB}" srcId="{FC8E4F8A-67E5-2045-9D5E-3FC794334922}" destId="{FB0B53D9-195C-E342-956D-F618DF62762F}" srcOrd="4" destOrd="0" parTransId="{B5CA3A2B-F6F0-1D4F-9108-A123E5BB82B2}" sibTransId="{A0F1DF69-79A4-5A4A-B4FE-EBD450354025}"/>
    <dgm:cxn modelId="{E32A4819-DA2E-2F47-A2F5-682D672333AE}" srcId="{FC8E4F8A-67E5-2045-9D5E-3FC794334922}" destId="{027B2473-40A2-3B43-B43F-38DEED3C23F6}" srcOrd="5" destOrd="0" parTransId="{BA77F311-3B04-B247-B68A-70B04552A3DE}" sibTransId="{2091BAEF-6F31-D84F-97CC-2ECF5B035F26}"/>
    <dgm:cxn modelId="{A384AFB0-5034-46C2-8451-524965D40627}" type="presOf" srcId="{027B2473-40A2-3B43-B43F-38DEED3C23F6}" destId="{D73A2411-5BF3-5048-8FDD-2AA7C8DF38E0}" srcOrd="0" destOrd="0" presId="urn:microsoft.com/office/officeart/2005/8/layout/hierarchy4"/>
    <dgm:cxn modelId="{C05FDDF9-9A2C-4928-A29B-3C046E1F5320}" type="presOf" srcId="{E3485FBA-95F2-054A-AEC2-229E0DA3A15E}" destId="{A97B6EE3-C913-9249-9BB0-F869F56702F9}" srcOrd="0" destOrd="0" presId="urn:microsoft.com/office/officeart/2005/8/layout/hierarchy4"/>
    <dgm:cxn modelId="{576B7398-80B0-4A64-BEF2-7E488A4EACD9}" type="presOf" srcId="{2F9F089B-6CDE-3644-A71A-A5129F9689C7}" destId="{FF7A9D10-FC52-814C-BC88-3CB8D987E56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316A33DA-6E62-4DC8-9252-74E531B59227}" type="presOf" srcId="{B791BFEE-811F-614D-9E2F-A9E3C1B09519}" destId="{71EFDBA4-FD34-C04D-A343-12FFAAA2219C}" srcOrd="0" destOrd="0" presId="urn:microsoft.com/office/officeart/2005/8/layout/hierarchy4"/>
    <dgm:cxn modelId="{5D0CDB1D-D3F7-7247-9F5D-1F7E7E66D6CA}" srcId="{FC8E4F8A-67E5-2045-9D5E-3FC794334922}" destId="{BF818B2D-1395-DD45-AE47-FCD63B94F723}" srcOrd="1" destOrd="0" parTransId="{C7211ED2-5743-6642-990B-0A51157BE98B}" sibTransId="{D51C0B96-6612-0B46-ACFF-68BA0CABA230}"/>
    <dgm:cxn modelId="{F42AFBF3-F3EF-4662-9550-B3F5DACF7B8E}" type="presOf" srcId="{D459B528-A2E8-9D40-B9F3-A1953FDF22D7}" destId="{C52D1841-36E2-9D4B-BC9F-A24074B8AAD3}" srcOrd="0" destOrd="0" presId="urn:microsoft.com/office/officeart/2005/8/layout/hierarchy4"/>
    <dgm:cxn modelId="{459333A1-76FB-7240-A9C0-38963D44CF8B}" srcId="{FC8E4F8A-67E5-2045-9D5E-3FC794334922}" destId="{40BD6C83-8F9F-5A4F-9687-09C767822952}" srcOrd="2" destOrd="0" parTransId="{A5D03699-D068-F54C-826D-09B305F306A4}" sibTransId="{AFC67590-308D-5B41-84B9-2376F08D1780}"/>
    <dgm:cxn modelId="{99495A53-B1A4-E54A-BDED-90569695457E}" srcId="{FC8E4F8A-67E5-2045-9D5E-3FC794334922}" destId="{D459B528-A2E8-9D40-B9F3-A1953FDF22D7}" srcOrd="7" destOrd="0" parTransId="{D4349E50-BD21-A443-89BC-5D8432335ADC}" sibTransId="{1EB380D0-5C93-FD4B-AEC0-2890B45444BD}"/>
    <dgm:cxn modelId="{4C982F7F-8C15-4F51-8C55-D8EEB60F7686}" type="presOf" srcId="{FB0B53D9-195C-E342-956D-F618DF62762F}" destId="{027D962D-2EA5-464F-827D-5FE1D8B618A1}" srcOrd="0" destOrd="0" presId="urn:microsoft.com/office/officeart/2005/8/layout/hierarchy4"/>
    <dgm:cxn modelId="{917BED2E-C45A-4E9C-BFE6-02B02C188F3D}" type="presOf" srcId="{FC8E4F8A-67E5-2045-9D5E-3FC794334922}" destId="{07F2754C-E745-394E-B448-01F146E9A493}" srcOrd="0" destOrd="0" presId="urn:microsoft.com/office/officeart/2005/8/layout/hierarchy4"/>
    <dgm:cxn modelId="{D5A212E3-513B-5C4C-978D-179B0697EB27}" srcId="{FC8E4F8A-67E5-2045-9D5E-3FC794334922}" destId="{E3485FBA-95F2-054A-AEC2-229E0DA3A15E}" srcOrd="3" destOrd="0" parTransId="{12E1C44F-7698-124D-8B08-8F60057B054D}" sibTransId="{2AC2EF0C-2EE3-6640-A796-8994BF99D979}"/>
    <dgm:cxn modelId="{EBE28BA0-EFBE-6E4F-B4BB-288E02289E0D}" srcId="{FC8E4F8A-67E5-2045-9D5E-3FC794334922}" destId="{B791BFEE-811F-614D-9E2F-A9E3C1B09519}" srcOrd="6" destOrd="0" parTransId="{61DC409F-BF87-F247-A67F-21096AD9CFD3}" sibTransId="{585B9CB7-8FB4-D94F-979B-A2F34A126751}"/>
    <dgm:cxn modelId="{36F63ECE-FC28-4ADD-8AE3-E42841D86038}" type="presOf" srcId="{40BD6C83-8F9F-5A4F-9687-09C767822952}" destId="{97B909D6-A9F8-ED48-8A1A-010B75477D74}" srcOrd="0" destOrd="0" presId="urn:microsoft.com/office/officeart/2005/8/layout/hierarchy4"/>
    <dgm:cxn modelId="{9E4B4BD6-F6A3-43ED-8E6E-752A72E25518}" type="presParOf" srcId="{07F2754C-E745-394E-B448-01F146E9A493}" destId="{72BF7568-AE61-D44D-B503-BA1B66CA9BB1}" srcOrd="0" destOrd="0" presId="urn:microsoft.com/office/officeart/2005/8/layout/hierarchy4"/>
    <dgm:cxn modelId="{92BA157C-A807-4BE3-9CF1-BEC8EAD02D6D}" type="presParOf" srcId="{72BF7568-AE61-D44D-B503-BA1B66CA9BB1}" destId="{FF7A9D10-FC52-814C-BC88-3CB8D987E563}" srcOrd="0" destOrd="0" presId="urn:microsoft.com/office/officeart/2005/8/layout/hierarchy4"/>
    <dgm:cxn modelId="{B4A12D24-523F-4610-AA42-7D6693F2FCB1}" type="presParOf" srcId="{72BF7568-AE61-D44D-B503-BA1B66CA9BB1}" destId="{45E330AC-B148-B345-9481-A07AB4710ACD}" srcOrd="1" destOrd="0" presId="urn:microsoft.com/office/officeart/2005/8/layout/hierarchy4"/>
    <dgm:cxn modelId="{51FE528A-6D8A-4B0C-A308-BA96D228E143}" type="presParOf" srcId="{07F2754C-E745-394E-B448-01F146E9A493}" destId="{18C604F1-C22A-4E48-89B9-E1871522632F}" srcOrd="1" destOrd="0" presId="urn:microsoft.com/office/officeart/2005/8/layout/hierarchy4"/>
    <dgm:cxn modelId="{BC518210-08BB-4967-8ADD-058A3BEED5D6}" type="presParOf" srcId="{07F2754C-E745-394E-B448-01F146E9A493}" destId="{77842F98-C999-F444-B235-5E84E3EC7162}" srcOrd="2" destOrd="0" presId="urn:microsoft.com/office/officeart/2005/8/layout/hierarchy4"/>
    <dgm:cxn modelId="{DD1A8532-308B-4F71-B516-8E220556A87E}" type="presParOf" srcId="{77842F98-C999-F444-B235-5E84E3EC7162}" destId="{6A6AC99F-0DD6-2B4E-90B9-8D4EF6A8608F}" srcOrd="0" destOrd="0" presId="urn:microsoft.com/office/officeart/2005/8/layout/hierarchy4"/>
    <dgm:cxn modelId="{56D078DD-FC01-452D-AFB2-F49620CB2132}" type="presParOf" srcId="{77842F98-C999-F444-B235-5E84E3EC7162}" destId="{CDBA27F0-F0AF-504E-A92D-D8F63A79C420}" srcOrd="1" destOrd="0" presId="urn:microsoft.com/office/officeart/2005/8/layout/hierarchy4"/>
    <dgm:cxn modelId="{2CA7C7D3-1D83-4D77-88D2-32DCF5172F0E}" type="presParOf" srcId="{07F2754C-E745-394E-B448-01F146E9A493}" destId="{7ECC6899-967D-BA4A-BD41-EAC12F2672BB}" srcOrd="3" destOrd="0" presId="urn:microsoft.com/office/officeart/2005/8/layout/hierarchy4"/>
    <dgm:cxn modelId="{78A1B91D-6889-4490-BD51-15A11DAA82E8}" type="presParOf" srcId="{07F2754C-E745-394E-B448-01F146E9A493}" destId="{1211B795-63B4-6D42-83DC-8DE364644B0A}" srcOrd="4" destOrd="0" presId="urn:microsoft.com/office/officeart/2005/8/layout/hierarchy4"/>
    <dgm:cxn modelId="{17F6C18A-4A4B-435D-A933-095692CC1A11}" type="presParOf" srcId="{1211B795-63B4-6D42-83DC-8DE364644B0A}" destId="{97B909D6-A9F8-ED48-8A1A-010B75477D74}" srcOrd="0" destOrd="0" presId="urn:microsoft.com/office/officeart/2005/8/layout/hierarchy4"/>
    <dgm:cxn modelId="{663F3ED1-7A17-4D7B-B2D9-5F3B646622B2}" type="presParOf" srcId="{1211B795-63B4-6D42-83DC-8DE364644B0A}" destId="{E81ECE34-0A05-A84B-BC4B-0F895A797FB2}" srcOrd="1" destOrd="0" presId="urn:microsoft.com/office/officeart/2005/8/layout/hierarchy4"/>
    <dgm:cxn modelId="{C449B36D-5330-4B32-ADA5-771BA031D2A9}" type="presParOf" srcId="{07F2754C-E745-394E-B448-01F146E9A493}" destId="{C2811CAA-C3FE-204F-B5D5-68D40BF1F1E7}" srcOrd="5" destOrd="0" presId="urn:microsoft.com/office/officeart/2005/8/layout/hierarchy4"/>
    <dgm:cxn modelId="{77FA7C46-CF60-4F4E-AF0D-F6534A8F3A75}" type="presParOf" srcId="{07F2754C-E745-394E-B448-01F146E9A493}" destId="{4F740ECE-EE3A-3C41-991C-EA6F60703047}" srcOrd="6" destOrd="0" presId="urn:microsoft.com/office/officeart/2005/8/layout/hierarchy4"/>
    <dgm:cxn modelId="{E1A78C29-25E0-4A1E-AC07-72DAC2A3323D}" type="presParOf" srcId="{4F740ECE-EE3A-3C41-991C-EA6F60703047}" destId="{A97B6EE3-C913-9249-9BB0-F869F56702F9}" srcOrd="0" destOrd="0" presId="urn:microsoft.com/office/officeart/2005/8/layout/hierarchy4"/>
    <dgm:cxn modelId="{68417088-1449-44E3-9B30-752AB9BA44B2}" type="presParOf" srcId="{4F740ECE-EE3A-3C41-991C-EA6F60703047}" destId="{576DEBAB-9492-7148-B255-B69B39AEEFD5}" srcOrd="1" destOrd="0" presId="urn:microsoft.com/office/officeart/2005/8/layout/hierarchy4"/>
    <dgm:cxn modelId="{A393C8CE-93A1-47E3-8E95-ED87F2EF02E1}" type="presParOf" srcId="{07F2754C-E745-394E-B448-01F146E9A493}" destId="{3E3E1513-051B-D747-9578-5157F0BD2606}" srcOrd="7" destOrd="0" presId="urn:microsoft.com/office/officeart/2005/8/layout/hierarchy4"/>
    <dgm:cxn modelId="{D40D5257-F933-4532-B0CF-6A2EEDC8B3BC}" type="presParOf" srcId="{07F2754C-E745-394E-B448-01F146E9A493}" destId="{2349EFCC-D6EF-F14F-8F03-59B42D87120C}" srcOrd="8" destOrd="0" presId="urn:microsoft.com/office/officeart/2005/8/layout/hierarchy4"/>
    <dgm:cxn modelId="{12691E0C-B3ED-4522-A96C-51ADE2D5F52E}" type="presParOf" srcId="{2349EFCC-D6EF-F14F-8F03-59B42D87120C}" destId="{027D962D-2EA5-464F-827D-5FE1D8B618A1}" srcOrd="0" destOrd="0" presId="urn:microsoft.com/office/officeart/2005/8/layout/hierarchy4"/>
    <dgm:cxn modelId="{698B7315-F091-479A-A0AA-D17E29E48E8F}" type="presParOf" srcId="{2349EFCC-D6EF-F14F-8F03-59B42D87120C}" destId="{5D52124E-E701-A14E-978B-675C86D7D941}" srcOrd="1" destOrd="0" presId="urn:microsoft.com/office/officeart/2005/8/layout/hierarchy4"/>
    <dgm:cxn modelId="{68FA04C4-9155-4E56-B219-980AF6F4D261}" type="presParOf" srcId="{07F2754C-E745-394E-B448-01F146E9A493}" destId="{93302620-31AB-4744-93E7-EAF6C7A77D6E}" srcOrd="9" destOrd="0" presId="urn:microsoft.com/office/officeart/2005/8/layout/hierarchy4"/>
    <dgm:cxn modelId="{A5EFD44E-ADB9-4C34-BED4-6988317624F6}" type="presParOf" srcId="{07F2754C-E745-394E-B448-01F146E9A493}" destId="{79A592FD-AF06-9642-8007-09D471248D33}" srcOrd="10" destOrd="0" presId="urn:microsoft.com/office/officeart/2005/8/layout/hierarchy4"/>
    <dgm:cxn modelId="{60526BA3-D83A-4377-83D3-92D3298B7989}" type="presParOf" srcId="{79A592FD-AF06-9642-8007-09D471248D33}" destId="{D73A2411-5BF3-5048-8FDD-2AA7C8DF38E0}" srcOrd="0" destOrd="0" presId="urn:microsoft.com/office/officeart/2005/8/layout/hierarchy4"/>
    <dgm:cxn modelId="{C63086E5-052C-46C2-AAD9-CDA89FB643EE}" type="presParOf" srcId="{79A592FD-AF06-9642-8007-09D471248D33}" destId="{A5B95F44-F627-F14E-A903-667E3E942B16}" srcOrd="1" destOrd="0" presId="urn:microsoft.com/office/officeart/2005/8/layout/hierarchy4"/>
    <dgm:cxn modelId="{8E187354-5B64-4E85-87E6-9B29FE96735F}" type="presParOf" srcId="{07F2754C-E745-394E-B448-01F146E9A493}" destId="{236AC1D0-3375-824D-8FDC-0F1798C4046E}" srcOrd="11" destOrd="0" presId="urn:microsoft.com/office/officeart/2005/8/layout/hierarchy4"/>
    <dgm:cxn modelId="{4068BE7F-4516-4369-B457-01E36F30A9BF}" type="presParOf" srcId="{07F2754C-E745-394E-B448-01F146E9A493}" destId="{3E9A3401-CDF7-8E46-87B0-A71177856B62}" srcOrd="12" destOrd="0" presId="urn:microsoft.com/office/officeart/2005/8/layout/hierarchy4"/>
    <dgm:cxn modelId="{50267937-250D-42E4-B90A-113DD034B131}" type="presParOf" srcId="{3E9A3401-CDF7-8E46-87B0-A71177856B62}" destId="{71EFDBA4-FD34-C04D-A343-12FFAAA2219C}" srcOrd="0" destOrd="0" presId="urn:microsoft.com/office/officeart/2005/8/layout/hierarchy4"/>
    <dgm:cxn modelId="{494E462E-0A41-40B1-A00D-1F6DDC3C3BBB}" type="presParOf" srcId="{3E9A3401-CDF7-8E46-87B0-A71177856B62}" destId="{500AD90E-E799-0C4E-910B-A97A68C40A9E}" srcOrd="1" destOrd="0" presId="urn:microsoft.com/office/officeart/2005/8/layout/hierarchy4"/>
    <dgm:cxn modelId="{C14CE86F-3975-47A6-8C45-B59F81117F6B}" type="presParOf" srcId="{07F2754C-E745-394E-B448-01F146E9A493}" destId="{F70D16F5-85BA-F245-851A-4A66C7DF421D}" srcOrd="13" destOrd="0" presId="urn:microsoft.com/office/officeart/2005/8/layout/hierarchy4"/>
    <dgm:cxn modelId="{A06E95B4-9FA3-4406-9632-479E990F3C11}" type="presParOf" srcId="{07F2754C-E745-394E-B448-01F146E9A493}" destId="{6B050408-9C32-724B-B50B-C759B83C7008}" srcOrd="14" destOrd="0" presId="urn:microsoft.com/office/officeart/2005/8/layout/hierarchy4"/>
    <dgm:cxn modelId="{C63D0556-98C1-4747-A5BA-D98E4C753874}" type="presParOf" srcId="{6B050408-9C32-724B-B50B-C759B83C7008}" destId="{C52D1841-36E2-9D4B-BC9F-A24074B8AAD3}" srcOrd="0" destOrd="0" presId="urn:microsoft.com/office/officeart/2005/8/layout/hierarchy4"/>
    <dgm:cxn modelId="{50F0E5C3-E6C5-4A16-92D3-4F7C8C2AB563}"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DC07205-FF94-448F-841A-40256B6B0AA8}" type="doc">
      <dgm:prSet loTypeId="urn:microsoft.com/office/officeart/2005/8/layout/hProcess9" loCatId="process" qsTypeId="urn:microsoft.com/office/officeart/2005/8/quickstyle/simple1" qsCatId="simple" csTypeId="urn:microsoft.com/office/officeart/2005/8/colors/accent1_2" csCatId="accent1" phldr="1"/>
      <dgm:spPr/>
    </dgm:pt>
    <dgm:pt modelId="{529D409C-BE70-4041-9507-3E8E5F75C354}">
      <dgm:prSet phldrT="[Text]"/>
      <dgm:spPr/>
      <dgm:t>
        <a:bodyPr/>
        <a:lstStyle/>
        <a:p>
          <a:r>
            <a:rPr lang="en-US" dirty="0" smtClean="0"/>
            <a:t>Open Source </a:t>
          </a:r>
          <a:endParaRPr lang="en-US" dirty="0"/>
        </a:p>
      </dgm:t>
    </dgm:pt>
    <dgm:pt modelId="{AE72D484-9259-4330-8580-20F43B45D471}" type="parTrans" cxnId="{117EF97F-4F93-4626-8390-B82873F62B29}">
      <dgm:prSet/>
      <dgm:spPr/>
      <dgm:t>
        <a:bodyPr/>
        <a:lstStyle/>
        <a:p>
          <a:endParaRPr lang="en-US"/>
        </a:p>
      </dgm:t>
    </dgm:pt>
    <dgm:pt modelId="{C82912E7-D448-4211-8E15-53B6711DA703}" type="sibTrans" cxnId="{117EF97F-4F93-4626-8390-B82873F62B29}">
      <dgm:prSet/>
      <dgm:spPr/>
      <dgm:t>
        <a:bodyPr/>
        <a:lstStyle/>
        <a:p>
          <a:endParaRPr lang="en-US"/>
        </a:p>
      </dgm:t>
    </dgm:pt>
    <dgm:pt modelId="{88F5D3C4-07D3-4510-8B03-325A7231B70A}">
      <dgm:prSet phldrT="[Text]"/>
      <dgm:spPr/>
      <dgm:t>
        <a:bodyPr/>
        <a:lstStyle/>
        <a:p>
          <a:r>
            <a:rPr lang="en-US" dirty="0" smtClean="0"/>
            <a:t>Consistent Platform</a:t>
          </a:r>
          <a:endParaRPr lang="en-US" dirty="0"/>
        </a:p>
      </dgm:t>
    </dgm:pt>
    <dgm:pt modelId="{261FDADC-B372-4D16-A4EA-3C8D9332AFA8}" type="parTrans" cxnId="{A4DF8AF5-60E8-4FE1-BF7A-E4E10E13E2D2}">
      <dgm:prSet/>
      <dgm:spPr/>
      <dgm:t>
        <a:bodyPr/>
        <a:lstStyle/>
        <a:p>
          <a:endParaRPr lang="en-US"/>
        </a:p>
      </dgm:t>
    </dgm:pt>
    <dgm:pt modelId="{EC64B5F2-6FC8-431C-9B8B-47C177253377}" type="sibTrans" cxnId="{A4DF8AF5-60E8-4FE1-BF7A-E4E10E13E2D2}">
      <dgm:prSet/>
      <dgm:spPr/>
      <dgm:t>
        <a:bodyPr/>
        <a:lstStyle/>
        <a:p>
          <a:endParaRPr lang="en-US"/>
        </a:p>
      </dgm:t>
    </dgm:pt>
    <dgm:pt modelId="{6380F2B6-E1DB-4FCE-8A69-65CAEF0C9BC5}" type="pres">
      <dgm:prSet presAssocID="{1DC07205-FF94-448F-841A-40256B6B0AA8}" presName="CompostProcess" presStyleCnt="0">
        <dgm:presLayoutVars>
          <dgm:dir/>
          <dgm:resizeHandles val="exact"/>
        </dgm:presLayoutVars>
      </dgm:prSet>
      <dgm:spPr/>
    </dgm:pt>
    <dgm:pt modelId="{B5D6766C-2B5D-4D09-90DF-385E36E6C57D}" type="pres">
      <dgm:prSet presAssocID="{1DC07205-FF94-448F-841A-40256B6B0AA8}" presName="arrow" presStyleLbl="bgShp" presStyleIdx="0" presStyleCnt="1"/>
      <dgm:spPr/>
    </dgm:pt>
    <dgm:pt modelId="{81AD5117-64C7-4E5B-9C8D-013E26A482A1}" type="pres">
      <dgm:prSet presAssocID="{1DC07205-FF94-448F-841A-40256B6B0AA8}" presName="linearProcess" presStyleCnt="0"/>
      <dgm:spPr/>
    </dgm:pt>
    <dgm:pt modelId="{9504D84C-DEDF-4E9D-BE73-5643666E8F40}" type="pres">
      <dgm:prSet presAssocID="{529D409C-BE70-4041-9507-3E8E5F75C354}" presName="textNode" presStyleLbl="node1" presStyleIdx="0" presStyleCnt="2">
        <dgm:presLayoutVars>
          <dgm:bulletEnabled val="1"/>
        </dgm:presLayoutVars>
      </dgm:prSet>
      <dgm:spPr/>
      <dgm:t>
        <a:bodyPr/>
        <a:lstStyle/>
        <a:p>
          <a:endParaRPr lang="en-US"/>
        </a:p>
      </dgm:t>
    </dgm:pt>
    <dgm:pt modelId="{44EE2698-A758-4AFE-8651-A01FD31C3655}" type="pres">
      <dgm:prSet presAssocID="{C82912E7-D448-4211-8E15-53B6711DA703}" presName="sibTrans" presStyleCnt="0"/>
      <dgm:spPr/>
    </dgm:pt>
    <dgm:pt modelId="{BBC9E803-8988-45AA-85F7-D9343FC7AEE5}" type="pres">
      <dgm:prSet presAssocID="{88F5D3C4-07D3-4510-8B03-325A7231B70A}" presName="textNode" presStyleLbl="node1" presStyleIdx="1" presStyleCnt="2">
        <dgm:presLayoutVars>
          <dgm:bulletEnabled val="1"/>
        </dgm:presLayoutVars>
      </dgm:prSet>
      <dgm:spPr/>
      <dgm:t>
        <a:bodyPr/>
        <a:lstStyle/>
        <a:p>
          <a:endParaRPr lang="en-US"/>
        </a:p>
      </dgm:t>
    </dgm:pt>
  </dgm:ptLst>
  <dgm:cxnLst>
    <dgm:cxn modelId="{A4DF8AF5-60E8-4FE1-BF7A-E4E10E13E2D2}" srcId="{1DC07205-FF94-448F-841A-40256B6B0AA8}" destId="{88F5D3C4-07D3-4510-8B03-325A7231B70A}" srcOrd="1" destOrd="0" parTransId="{261FDADC-B372-4D16-A4EA-3C8D9332AFA8}" sibTransId="{EC64B5F2-6FC8-431C-9B8B-47C177253377}"/>
    <dgm:cxn modelId="{86956295-61CC-4659-B832-861D06C96E51}" type="presOf" srcId="{1DC07205-FF94-448F-841A-40256B6B0AA8}" destId="{6380F2B6-E1DB-4FCE-8A69-65CAEF0C9BC5}" srcOrd="0" destOrd="0" presId="urn:microsoft.com/office/officeart/2005/8/layout/hProcess9"/>
    <dgm:cxn modelId="{6DBF7762-8E49-4FAF-857E-0539A5EC12CB}" type="presOf" srcId="{529D409C-BE70-4041-9507-3E8E5F75C354}" destId="{9504D84C-DEDF-4E9D-BE73-5643666E8F40}" srcOrd="0" destOrd="0" presId="urn:microsoft.com/office/officeart/2005/8/layout/hProcess9"/>
    <dgm:cxn modelId="{81864E26-A97E-4E78-81E8-6C7EE879A934}" type="presOf" srcId="{88F5D3C4-07D3-4510-8B03-325A7231B70A}" destId="{BBC9E803-8988-45AA-85F7-D9343FC7AEE5}" srcOrd="0" destOrd="0" presId="urn:microsoft.com/office/officeart/2005/8/layout/hProcess9"/>
    <dgm:cxn modelId="{117EF97F-4F93-4626-8390-B82873F62B29}" srcId="{1DC07205-FF94-448F-841A-40256B6B0AA8}" destId="{529D409C-BE70-4041-9507-3E8E5F75C354}" srcOrd="0" destOrd="0" parTransId="{AE72D484-9259-4330-8580-20F43B45D471}" sibTransId="{C82912E7-D448-4211-8E15-53B6711DA703}"/>
    <dgm:cxn modelId="{0FDDEC4D-3428-4B37-8225-EC6CA7B5DE11}" type="presParOf" srcId="{6380F2B6-E1DB-4FCE-8A69-65CAEF0C9BC5}" destId="{B5D6766C-2B5D-4D09-90DF-385E36E6C57D}" srcOrd="0" destOrd="0" presId="urn:microsoft.com/office/officeart/2005/8/layout/hProcess9"/>
    <dgm:cxn modelId="{2655B408-0B50-406F-839A-89A118402AEF}" type="presParOf" srcId="{6380F2B6-E1DB-4FCE-8A69-65CAEF0C9BC5}" destId="{81AD5117-64C7-4E5B-9C8D-013E26A482A1}" srcOrd="1" destOrd="0" presId="urn:microsoft.com/office/officeart/2005/8/layout/hProcess9"/>
    <dgm:cxn modelId="{82CDE9AE-EF4C-49AD-B489-0DC31D46839E}" type="presParOf" srcId="{81AD5117-64C7-4E5B-9C8D-013E26A482A1}" destId="{9504D84C-DEDF-4E9D-BE73-5643666E8F40}" srcOrd="0" destOrd="0" presId="urn:microsoft.com/office/officeart/2005/8/layout/hProcess9"/>
    <dgm:cxn modelId="{15590157-F1C9-4C1D-862F-9E3115A1FCA9}" type="presParOf" srcId="{81AD5117-64C7-4E5B-9C8D-013E26A482A1}" destId="{44EE2698-A758-4AFE-8651-A01FD31C3655}" srcOrd="1" destOrd="0" presId="urn:microsoft.com/office/officeart/2005/8/layout/hProcess9"/>
    <dgm:cxn modelId="{D7867D3E-A374-4CBB-99D1-C73B2265ACF1}" type="presParOf" srcId="{81AD5117-64C7-4E5B-9C8D-013E26A482A1}" destId="{BBC9E803-8988-45AA-85F7-D9343FC7AEE5}" srcOrd="2" destOrd="0" presId="urn:microsoft.com/office/officeart/2005/8/layout/hProcess9"/>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FB0B53D9-195C-E342-956D-F618DF62762F}">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chemeClr val="bg1">
            <a:lumMod val="85000"/>
          </a:schemeClr>
        </a:solidFill>
      </dgm:spPr>
      <dgm:t>
        <a:bodyPr/>
        <a:lstStyle/>
        <a:p>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F9F089B-6CDE-3644-A71A-A5129F9689C7}">
      <dgm:prSet custT="1"/>
      <dgm:spPr>
        <a:solidFill>
          <a:srgbClr val="BF0A13"/>
        </a:solidFill>
      </dgm:spPr>
      <dgm:t>
        <a:bodyPr/>
        <a:lstStyle/>
        <a:p>
          <a:r>
            <a:rPr lang="en-US" sz="1200" b="0" i="0" dirty="0" smtClean="0">
              <a:latin typeface="Helvetica Neue Light" charset="0"/>
              <a:ea typeface="Helvetica Neue Light" charset="0"/>
              <a:cs typeface="Helvetica Neue Light" charset="0"/>
            </a:rPr>
            <a:t>Big R</a:t>
          </a:r>
          <a:endParaRPr lang="en-US" sz="1200" b="0" i="0" dirty="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40BD6C83-8F9F-5A4F-9687-09C767822952}">
      <dgm:prSet/>
      <dgm:spPr>
        <a:solidFill>
          <a:schemeClr val="bg1">
            <a:lumMod val="85000"/>
          </a:schemeClr>
        </a:solidFill>
      </dgm:spPr>
      <dgm:t>
        <a:bodyPr/>
        <a:lstStyle/>
        <a:p>
          <a:endParaRPr lang="en-US" dirty="0"/>
        </a:p>
      </dgm:t>
    </dgm:pt>
    <dgm:pt modelId="{A5D03699-D068-F54C-826D-09B305F306A4}" type="parTrans" cxnId="{459333A1-76FB-7240-A9C0-38963D44CF8B}">
      <dgm:prSet/>
      <dgm:spPr/>
      <dgm:t>
        <a:bodyPr/>
        <a:lstStyle/>
        <a:p>
          <a:endParaRPr lang="en-US"/>
        </a:p>
      </dgm:t>
    </dgm:pt>
    <dgm:pt modelId="{AFC67590-308D-5B41-84B9-2376F08D1780}" type="sibTrans" cxnId="{459333A1-76FB-7240-A9C0-38963D44CF8B}">
      <dgm:prSet/>
      <dgm:spPr/>
      <dgm:t>
        <a:bodyPr/>
        <a:lstStyle/>
        <a:p>
          <a:endParaRPr lang="en-US"/>
        </a:p>
      </dgm:t>
    </dgm:pt>
    <dgm:pt modelId="{BF818B2D-1395-DD45-AE47-FCD63B94F723}">
      <dgm:prSet/>
      <dgm:spPr>
        <a:solidFill>
          <a:schemeClr val="bg1">
            <a:lumMod val="85000"/>
          </a:schemeClr>
        </a:solidFill>
      </dgm:spPr>
      <dgm:t>
        <a:bodyPr/>
        <a:lstStyle/>
        <a:p>
          <a:endParaRPr lang="en-US" dirty="0"/>
        </a:p>
      </dgm:t>
    </dgm:pt>
    <dgm:pt modelId="{C7211ED2-5743-6642-990B-0A51157BE98B}" type="parTrans" cxnId="{5D0CDB1D-D3F7-7247-9F5D-1F7E7E66D6CA}">
      <dgm:prSet/>
      <dgm:spPr/>
      <dgm:t>
        <a:bodyPr/>
        <a:lstStyle/>
        <a:p>
          <a:endParaRPr lang="en-US"/>
        </a:p>
      </dgm:t>
    </dgm:pt>
    <dgm:pt modelId="{D51C0B96-6612-0B46-ACFF-68BA0CABA230}" type="sibTrans" cxnId="{5D0CDB1D-D3F7-7247-9F5D-1F7E7E66D6CA}">
      <dgm:prSet/>
      <dgm:spPr/>
      <dgm:t>
        <a:bodyPr/>
        <a:lstStyle/>
        <a:p>
          <a:endParaRPr lang="en-US"/>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8" custScaleX="117917">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77842F98-C999-F444-B235-5E84E3EC7162}" type="pres">
      <dgm:prSet presAssocID="{BF818B2D-1395-DD45-AE47-FCD63B94F723}" presName="vertOne" presStyleCnt="0"/>
      <dgm:spPr/>
    </dgm:pt>
    <dgm:pt modelId="{6A6AC99F-0DD6-2B4E-90B9-8D4EF6A8608F}" type="pres">
      <dgm:prSet presAssocID="{BF818B2D-1395-DD45-AE47-FCD63B94F723}" presName="txOne" presStyleLbl="node0" presStyleIdx="1" presStyleCnt="8" custScaleX="34072">
        <dgm:presLayoutVars>
          <dgm:chPref val="3"/>
        </dgm:presLayoutVars>
      </dgm:prSet>
      <dgm:spPr/>
      <dgm:t>
        <a:bodyPr/>
        <a:lstStyle/>
        <a:p>
          <a:endParaRPr lang="en-US"/>
        </a:p>
      </dgm:t>
    </dgm:pt>
    <dgm:pt modelId="{CDBA27F0-F0AF-504E-A92D-D8F63A79C420}" type="pres">
      <dgm:prSet presAssocID="{BF818B2D-1395-DD45-AE47-FCD63B94F723}" presName="horzOne" presStyleCnt="0"/>
      <dgm:spPr/>
    </dgm:pt>
    <dgm:pt modelId="{7ECC6899-967D-BA4A-BD41-EAC12F2672BB}" type="pres">
      <dgm:prSet presAssocID="{D51C0B96-6612-0B46-ACFF-68BA0CABA230}" presName="sibSpaceOne" presStyleCnt="0"/>
      <dgm:spPr/>
    </dgm:pt>
    <dgm:pt modelId="{1211B795-63B4-6D42-83DC-8DE364644B0A}" type="pres">
      <dgm:prSet presAssocID="{40BD6C83-8F9F-5A4F-9687-09C767822952}" presName="vertOne" presStyleCnt="0"/>
      <dgm:spPr/>
    </dgm:pt>
    <dgm:pt modelId="{97B909D6-A9F8-ED48-8A1A-010B75477D74}" type="pres">
      <dgm:prSet presAssocID="{40BD6C83-8F9F-5A4F-9687-09C767822952}" presName="txOne" presStyleLbl="node0" presStyleIdx="2" presStyleCnt="8" custScaleX="36508" custLinFactNeighborY="7846">
        <dgm:presLayoutVars>
          <dgm:chPref val="3"/>
        </dgm:presLayoutVars>
      </dgm:prSet>
      <dgm:spPr/>
      <dgm:t>
        <a:bodyPr/>
        <a:lstStyle/>
        <a:p>
          <a:endParaRPr lang="en-US"/>
        </a:p>
      </dgm:t>
    </dgm:pt>
    <dgm:pt modelId="{E81ECE34-0A05-A84B-BC4B-0F895A797FB2}" type="pres">
      <dgm:prSet presAssocID="{40BD6C83-8F9F-5A4F-9687-09C767822952}" presName="horzOne" presStyleCnt="0"/>
      <dgm:spPr/>
    </dgm:pt>
    <dgm:pt modelId="{C2811CAA-C3FE-204F-B5D5-68D40BF1F1E7}" type="pres">
      <dgm:prSet presAssocID="{AFC67590-308D-5B41-84B9-2376F08D1780}"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3" presStyleCnt="8" custScaleX="36508" custLinFactNeighborY="784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4" presStyleCnt="8" custScaleX="36508" custLinFactNeighborY="784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5" presStyleCnt="8" custScaleX="36508" custLinFactNeighborY="784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6" presStyleCnt="8" custScaleX="36508" custLinFactNeighborY="784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7" presStyleCnt="8" custScaleX="36508" custLinFactNeighborY="784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7B7936C9-EE18-6641-B47C-71C825F154DB}" srcId="{FC8E4F8A-67E5-2045-9D5E-3FC794334922}" destId="{FB0B53D9-195C-E342-956D-F618DF62762F}" srcOrd="4" destOrd="0" parTransId="{B5CA3A2B-F6F0-1D4F-9108-A123E5BB82B2}" sibTransId="{A0F1DF69-79A4-5A4A-B4FE-EBD450354025}"/>
    <dgm:cxn modelId="{E32A4819-DA2E-2F47-A2F5-682D672333AE}" srcId="{FC8E4F8A-67E5-2045-9D5E-3FC794334922}" destId="{027B2473-40A2-3B43-B43F-38DEED3C23F6}" srcOrd="5" destOrd="0" parTransId="{BA77F311-3B04-B247-B68A-70B04552A3DE}" sibTransId="{2091BAEF-6F31-D84F-97CC-2ECF5B035F26}"/>
    <dgm:cxn modelId="{9A721611-F236-4626-A184-3D130FAF28AE}" type="presOf" srcId="{BF818B2D-1395-DD45-AE47-FCD63B94F723}" destId="{6A6AC99F-0DD6-2B4E-90B9-8D4EF6A8608F}"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956863EF-9ADB-4F41-80A1-E4C1FAD444C3}" type="presOf" srcId="{B791BFEE-811F-614D-9E2F-A9E3C1B09519}" destId="{71EFDBA4-FD34-C04D-A343-12FFAAA2219C}" srcOrd="0" destOrd="0" presId="urn:microsoft.com/office/officeart/2005/8/layout/hierarchy4"/>
    <dgm:cxn modelId="{5D0CDB1D-D3F7-7247-9F5D-1F7E7E66D6CA}" srcId="{FC8E4F8A-67E5-2045-9D5E-3FC794334922}" destId="{BF818B2D-1395-DD45-AE47-FCD63B94F723}" srcOrd="1" destOrd="0" parTransId="{C7211ED2-5743-6642-990B-0A51157BE98B}" sibTransId="{D51C0B96-6612-0B46-ACFF-68BA0CABA230}"/>
    <dgm:cxn modelId="{64DB2672-84D9-49D0-BD53-A74C60693A91}" type="presOf" srcId="{FC8E4F8A-67E5-2045-9D5E-3FC794334922}" destId="{07F2754C-E745-394E-B448-01F146E9A493}" srcOrd="0" destOrd="0" presId="urn:microsoft.com/office/officeart/2005/8/layout/hierarchy4"/>
    <dgm:cxn modelId="{D88EBE05-4F28-4A2A-9346-6B097CA1D46F}" type="presOf" srcId="{E3485FBA-95F2-054A-AEC2-229E0DA3A15E}" destId="{A97B6EE3-C913-9249-9BB0-F869F56702F9}" srcOrd="0" destOrd="0" presId="urn:microsoft.com/office/officeart/2005/8/layout/hierarchy4"/>
    <dgm:cxn modelId="{BD9BCB33-64A0-448A-BABC-589278DC3B0C}" type="presOf" srcId="{FB0B53D9-195C-E342-956D-F618DF62762F}" destId="{027D962D-2EA5-464F-827D-5FE1D8B618A1}" srcOrd="0" destOrd="0" presId="urn:microsoft.com/office/officeart/2005/8/layout/hierarchy4"/>
    <dgm:cxn modelId="{E22157D5-4FD2-45CC-8328-D56E8D859A8B}" type="presOf" srcId="{D459B528-A2E8-9D40-B9F3-A1953FDF22D7}" destId="{C52D1841-36E2-9D4B-BC9F-A24074B8AAD3}" srcOrd="0" destOrd="0" presId="urn:microsoft.com/office/officeart/2005/8/layout/hierarchy4"/>
    <dgm:cxn modelId="{459333A1-76FB-7240-A9C0-38963D44CF8B}" srcId="{FC8E4F8A-67E5-2045-9D5E-3FC794334922}" destId="{40BD6C83-8F9F-5A4F-9687-09C767822952}" srcOrd="2" destOrd="0" parTransId="{A5D03699-D068-F54C-826D-09B305F306A4}" sibTransId="{AFC67590-308D-5B41-84B9-2376F08D1780}"/>
    <dgm:cxn modelId="{99495A53-B1A4-E54A-BDED-90569695457E}" srcId="{FC8E4F8A-67E5-2045-9D5E-3FC794334922}" destId="{D459B528-A2E8-9D40-B9F3-A1953FDF22D7}" srcOrd="7" destOrd="0" parTransId="{D4349E50-BD21-A443-89BC-5D8432335ADC}" sibTransId="{1EB380D0-5C93-FD4B-AEC0-2890B45444BD}"/>
    <dgm:cxn modelId="{896A6133-16C3-4652-96DC-3DD0B4EEC7C5}" type="presOf" srcId="{2F9F089B-6CDE-3644-A71A-A5129F9689C7}" destId="{FF7A9D10-FC52-814C-BC88-3CB8D987E563}" srcOrd="0" destOrd="0" presId="urn:microsoft.com/office/officeart/2005/8/layout/hierarchy4"/>
    <dgm:cxn modelId="{6B30F782-9241-49AA-BF77-ECC6C3869974}" type="presOf" srcId="{027B2473-40A2-3B43-B43F-38DEED3C23F6}" destId="{D73A2411-5BF3-5048-8FDD-2AA7C8DF38E0}" srcOrd="0" destOrd="0" presId="urn:microsoft.com/office/officeart/2005/8/layout/hierarchy4"/>
    <dgm:cxn modelId="{630835BA-FEC4-42B5-8219-493A8C4E3734}" type="presOf" srcId="{40BD6C83-8F9F-5A4F-9687-09C767822952}" destId="{97B909D6-A9F8-ED48-8A1A-010B75477D74}" srcOrd="0" destOrd="0" presId="urn:microsoft.com/office/officeart/2005/8/layout/hierarchy4"/>
    <dgm:cxn modelId="{D5A212E3-513B-5C4C-978D-179B0697EB27}" srcId="{FC8E4F8A-67E5-2045-9D5E-3FC794334922}" destId="{E3485FBA-95F2-054A-AEC2-229E0DA3A15E}" srcOrd="3" destOrd="0" parTransId="{12E1C44F-7698-124D-8B08-8F60057B054D}" sibTransId="{2AC2EF0C-2EE3-6640-A796-8994BF99D979}"/>
    <dgm:cxn modelId="{EBE28BA0-EFBE-6E4F-B4BB-288E02289E0D}" srcId="{FC8E4F8A-67E5-2045-9D5E-3FC794334922}" destId="{B791BFEE-811F-614D-9E2F-A9E3C1B09519}" srcOrd="6" destOrd="0" parTransId="{61DC409F-BF87-F247-A67F-21096AD9CFD3}" sibTransId="{585B9CB7-8FB4-D94F-979B-A2F34A126751}"/>
    <dgm:cxn modelId="{30A1B3F0-0442-4E7A-9CC7-AC9031EF4F2A}" type="presParOf" srcId="{07F2754C-E745-394E-B448-01F146E9A493}" destId="{72BF7568-AE61-D44D-B503-BA1B66CA9BB1}" srcOrd="0" destOrd="0" presId="urn:microsoft.com/office/officeart/2005/8/layout/hierarchy4"/>
    <dgm:cxn modelId="{891A4F3E-BF38-4006-B355-D282EA7EE882}" type="presParOf" srcId="{72BF7568-AE61-D44D-B503-BA1B66CA9BB1}" destId="{FF7A9D10-FC52-814C-BC88-3CB8D987E563}" srcOrd="0" destOrd="0" presId="urn:microsoft.com/office/officeart/2005/8/layout/hierarchy4"/>
    <dgm:cxn modelId="{2D59357B-E88A-4906-BECC-F0FE70F0F842}" type="presParOf" srcId="{72BF7568-AE61-D44D-B503-BA1B66CA9BB1}" destId="{45E330AC-B148-B345-9481-A07AB4710ACD}" srcOrd="1" destOrd="0" presId="urn:microsoft.com/office/officeart/2005/8/layout/hierarchy4"/>
    <dgm:cxn modelId="{32E870ED-74BD-4703-983B-A6AE0ECA85A1}" type="presParOf" srcId="{07F2754C-E745-394E-B448-01F146E9A493}" destId="{18C604F1-C22A-4E48-89B9-E1871522632F}" srcOrd="1" destOrd="0" presId="urn:microsoft.com/office/officeart/2005/8/layout/hierarchy4"/>
    <dgm:cxn modelId="{DB92AFCE-0011-4EEC-AD0E-9DA14D82F3A1}" type="presParOf" srcId="{07F2754C-E745-394E-B448-01F146E9A493}" destId="{77842F98-C999-F444-B235-5E84E3EC7162}" srcOrd="2" destOrd="0" presId="urn:microsoft.com/office/officeart/2005/8/layout/hierarchy4"/>
    <dgm:cxn modelId="{A88B295B-9CED-4B46-A557-D05C0CD0E59F}" type="presParOf" srcId="{77842F98-C999-F444-B235-5E84E3EC7162}" destId="{6A6AC99F-0DD6-2B4E-90B9-8D4EF6A8608F}" srcOrd="0" destOrd="0" presId="urn:microsoft.com/office/officeart/2005/8/layout/hierarchy4"/>
    <dgm:cxn modelId="{6445D8E7-EE79-43C9-B4F4-1A28A41B95D6}" type="presParOf" srcId="{77842F98-C999-F444-B235-5E84E3EC7162}" destId="{CDBA27F0-F0AF-504E-A92D-D8F63A79C420}" srcOrd="1" destOrd="0" presId="urn:microsoft.com/office/officeart/2005/8/layout/hierarchy4"/>
    <dgm:cxn modelId="{2674D86F-0521-4EAB-ACED-B293B1429146}" type="presParOf" srcId="{07F2754C-E745-394E-B448-01F146E9A493}" destId="{7ECC6899-967D-BA4A-BD41-EAC12F2672BB}" srcOrd="3" destOrd="0" presId="urn:microsoft.com/office/officeart/2005/8/layout/hierarchy4"/>
    <dgm:cxn modelId="{6FCBB5D9-ED90-4D5E-94DB-E54852F194D5}" type="presParOf" srcId="{07F2754C-E745-394E-B448-01F146E9A493}" destId="{1211B795-63B4-6D42-83DC-8DE364644B0A}" srcOrd="4" destOrd="0" presId="urn:microsoft.com/office/officeart/2005/8/layout/hierarchy4"/>
    <dgm:cxn modelId="{DACBE4E0-FFED-4B52-B087-C06E8F2EC520}" type="presParOf" srcId="{1211B795-63B4-6D42-83DC-8DE364644B0A}" destId="{97B909D6-A9F8-ED48-8A1A-010B75477D74}" srcOrd="0" destOrd="0" presId="urn:microsoft.com/office/officeart/2005/8/layout/hierarchy4"/>
    <dgm:cxn modelId="{CAA7FBC7-956C-4769-BA27-E1B3FEDC2CFF}" type="presParOf" srcId="{1211B795-63B4-6D42-83DC-8DE364644B0A}" destId="{E81ECE34-0A05-A84B-BC4B-0F895A797FB2}" srcOrd="1" destOrd="0" presId="urn:microsoft.com/office/officeart/2005/8/layout/hierarchy4"/>
    <dgm:cxn modelId="{B0EF707E-49A9-4E77-AFB4-75B6DD2A6B6B}" type="presParOf" srcId="{07F2754C-E745-394E-B448-01F146E9A493}" destId="{C2811CAA-C3FE-204F-B5D5-68D40BF1F1E7}" srcOrd="5" destOrd="0" presId="urn:microsoft.com/office/officeart/2005/8/layout/hierarchy4"/>
    <dgm:cxn modelId="{1644AC9C-2BF0-42D1-A0CF-BE06CDF9F247}" type="presParOf" srcId="{07F2754C-E745-394E-B448-01F146E9A493}" destId="{4F740ECE-EE3A-3C41-991C-EA6F60703047}" srcOrd="6" destOrd="0" presId="urn:microsoft.com/office/officeart/2005/8/layout/hierarchy4"/>
    <dgm:cxn modelId="{0EF04BC8-C59F-4107-8DC5-2CBFD6DF8D19}" type="presParOf" srcId="{4F740ECE-EE3A-3C41-991C-EA6F60703047}" destId="{A97B6EE3-C913-9249-9BB0-F869F56702F9}" srcOrd="0" destOrd="0" presId="urn:microsoft.com/office/officeart/2005/8/layout/hierarchy4"/>
    <dgm:cxn modelId="{D5F97CFC-655C-4B6D-A4E8-C26A77D8B609}" type="presParOf" srcId="{4F740ECE-EE3A-3C41-991C-EA6F60703047}" destId="{576DEBAB-9492-7148-B255-B69B39AEEFD5}" srcOrd="1" destOrd="0" presId="urn:microsoft.com/office/officeart/2005/8/layout/hierarchy4"/>
    <dgm:cxn modelId="{CF8D81EC-D05D-4951-ACD4-8F0DB3333958}" type="presParOf" srcId="{07F2754C-E745-394E-B448-01F146E9A493}" destId="{3E3E1513-051B-D747-9578-5157F0BD2606}" srcOrd="7" destOrd="0" presId="urn:microsoft.com/office/officeart/2005/8/layout/hierarchy4"/>
    <dgm:cxn modelId="{A4C995EA-7F6C-4E24-9589-5DA986DC1192}" type="presParOf" srcId="{07F2754C-E745-394E-B448-01F146E9A493}" destId="{2349EFCC-D6EF-F14F-8F03-59B42D87120C}" srcOrd="8" destOrd="0" presId="urn:microsoft.com/office/officeart/2005/8/layout/hierarchy4"/>
    <dgm:cxn modelId="{80304756-A654-408E-A91D-C2FA86CA66AF}" type="presParOf" srcId="{2349EFCC-D6EF-F14F-8F03-59B42D87120C}" destId="{027D962D-2EA5-464F-827D-5FE1D8B618A1}" srcOrd="0" destOrd="0" presId="urn:microsoft.com/office/officeart/2005/8/layout/hierarchy4"/>
    <dgm:cxn modelId="{9BF35D03-9D25-436D-9375-09CB9210FD5D}" type="presParOf" srcId="{2349EFCC-D6EF-F14F-8F03-59B42D87120C}" destId="{5D52124E-E701-A14E-978B-675C86D7D941}" srcOrd="1" destOrd="0" presId="urn:microsoft.com/office/officeart/2005/8/layout/hierarchy4"/>
    <dgm:cxn modelId="{951B51F0-9F8E-4AE8-8EC7-0922BF814F7A}" type="presParOf" srcId="{07F2754C-E745-394E-B448-01F146E9A493}" destId="{93302620-31AB-4744-93E7-EAF6C7A77D6E}" srcOrd="9" destOrd="0" presId="urn:microsoft.com/office/officeart/2005/8/layout/hierarchy4"/>
    <dgm:cxn modelId="{C9AFF304-4741-4475-B02F-AB16445A1861}" type="presParOf" srcId="{07F2754C-E745-394E-B448-01F146E9A493}" destId="{79A592FD-AF06-9642-8007-09D471248D33}" srcOrd="10" destOrd="0" presId="urn:microsoft.com/office/officeart/2005/8/layout/hierarchy4"/>
    <dgm:cxn modelId="{CE273344-FE05-4419-94B7-074A254C35C7}" type="presParOf" srcId="{79A592FD-AF06-9642-8007-09D471248D33}" destId="{D73A2411-5BF3-5048-8FDD-2AA7C8DF38E0}" srcOrd="0" destOrd="0" presId="urn:microsoft.com/office/officeart/2005/8/layout/hierarchy4"/>
    <dgm:cxn modelId="{C5E0E44C-4968-45D5-A02B-EB939BD78EAC}" type="presParOf" srcId="{79A592FD-AF06-9642-8007-09D471248D33}" destId="{A5B95F44-F627-F14E-A903-667E3E942B16}" srcOrd="1" destOrd="0" presId="urn:microsoft.com/office/officeart/2005/8/layout/hierarchy4"/>
    <dgm:cxn modelId="{652F0F4B-7469-4FA4-A682-F6842DAD8E17}" type="presParOf" srcId="{07F2754C-E745-394E-B448-01F146E9A493}" destId="{236AC1D0-3375-824D-8FDC-0F1798C4046E}" srcOrd="11" destOrd="0" presId="urn:microsoft.com/office/officeart/2005/8/layout/hierarchy4"/>
    <dgm:cxn modelId="{16AFD4CF-2A45-4B57-A4B1-A7D8C2C094BB}" type="presParOf" srcId="{07F2754C-E745-394E-B448-01F146E9A493}" destId="{3E9A3401-CDF7-8E46-87B0-A71177856B62}" srcOrd="12" destOrd="0" presId="urn:microsoft.com/office/officeart/2005/8/layout/hierarchy4"/>
    <dgm:cxn modelId="{86AD9960-1F4F-4BFF-901D-424297F34A38}" type="presParOf" srcId="{3E9A3401-CDF7-8E46-87B0-A71177856B62}" destId="{71EFDBA4-FD34-C04D-A343-12FFAAA2219C}" srcOrd="0" destOrd="0" presId="urn:microsoft.com/office/officeart/2005/8/layout/hierarchy4"/>
    <dgm:cxn modelId="{C4EB8B0B-F377-49DA-B357-6EC1742B2927}" type="presParOf" srcId="{3E9A3401-CDF7-8E46-87B0-A71177856B62}" destId="{500AD90E-E799-0C4E-910B-A97A68C40A9E}" srcOrd="1" destOrd="0" presId="urn:microsoft.com/office/officeart/2005/8/layout/hierarchy4"/>
    <dgm:cxn modelId="{BE7D1CE8-2CDC-426B-99AC-ABC84F18EFA8}" type="presParOf" srcId="{07F2754C-E745-394E-B448-01F146E9A493}" destId="{F70D16F5-85BA-F245-851A-4A66C7DF421D}" srcOrd="13" destOrd="0" presId="urn:microsoft.com/office/officeart/2005/8/layout/hierarchy4"/>
    <dgm:cxn modelId="{3AB046FF-01F9-44C2-B786-0F3FEE5998E1}" type="presParOf" srcId="{07F2754C-E745-394E-B448-01F146E9A493}" destId="{6B050408-9C32-724B-B50B-C759B83C7008}" srcOrd="14" destOrd="0" presId="urn:microsoft.com/office/officeart/2005/8/layout/hierarchy4"/>
    <dgm:cxn modelId="{7CE2F549-397A-401C-A604-AE893ADF6FE4}" type="presParOf" srcId="{6B050408-9C32-724B-B50B-C759B83C7008}" destId="{C52D1841-36E2-9D4B-BC9F-A24074B8AAD3}" srcOrd="0" destOrd="0" presId="urn:microsoft.com/office/officeart/2005/8/layout/hierarchy4"/>
    <dgm:cxn modelId="{9D20E3B1-A90D-4E22-B10C-AA643C384F89}"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DFS</a:t>
          </a:r>
          <a:endParaRPr lang="en-US" sz="1200" b="0" i="0" dirty="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B0B53D9-195C-E342-956D-F618DF62762F}">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Spark</a:t>
          </a:r>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ive</a:t>
          </a:r>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Catalog</a:t>
          </a:r>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Pig</a:t>
          </a:r>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MapReduce</a:t>
          </a:r>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5153563A-9D7C-450F-A4F2-81003A76CF22}" type="presOf" srcId="{FB0B53D9-195C-E342-956D-F618DF62762F}" destId="{027D962D-2EA5-464F-827D-5FE1D8B618A1}"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DD2CC38E-87A4-4CCD-A9BC-800FB0BDAF79}" type="presOf" srcId="{D459B528-A2E8-9D40-B9F3-A1953FDF22D7}" destId="{C52D1841-36E2-9D4B-BC9F-A24074B8AAD3}"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EBE28BA0-EFBE-6E4F-B4BB-288E02289E0D}" srcId="{FC8E4F8A-67E5-2045-9D5E-3FC794334922}" destId="{B791BFEE-811F-614D-9E2F-A9E3C1B09519}" srcOrd="4" destOrd="0" parTransId="{61DC409F-BF87-F247-A67F-21096AD9CFD3}" sibTransId="{585B9CB7-8FB4-D94F-979B-A2F34A126751}"/>
    <dgm:cxn modelId="{4358A065-07F4-408D-895F-7B20329973CF}" type="presOf" srcId="{B791BFEE-811F-614D-9E2F-A9E3C1B09519}" destId="{71EFDBA4-FD34-C04D-A343-12FFAAA2219C}" srcOrd="0" destOrd="0" presId="urn:microsoft.com/office/officeart/2005/8/layout/hierarchy4"/>
    <dgm:cxn modelId="{57E70B26-29AC-44E0-9CFE-CBDA0A17D776}" type="presOf" srcId="{2F9F089B-6CDE-3644-A71A-A5129F9689C7}" destId="{FF7A9D10-FC52-814C-BC88-3CB8D987E56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58EFB9EA-C3B2-466B-A4A2-E5CCA9C97C1F}" type="presOf" srcId="{E3485FBA-95F2-054A-AEC2-229E0DA3A15E}" destId="{A97B6EE3-C913-9249-9BB0-F869F56702F9}" srcOrd="0" destOrd="0" presId="urn:microsoft.com/office/officeart/2005/8/layout/hierarchy4"/>
    <dgm:cxn modelId="{9EB13535-A9EE-40B0-ABFF-27D2C6753535}" type="presOf" srcId="{027B2473-40A2-3B43-B43F-38DEED3C23F6}" destId="{D73A2411-5BF3-5048-8FDD-2AA7C8DF38E0}" srcOrd="0" destOrd="0" presId="urn:microsoft.com/office/officeart/2005/8/layout/hierarchy4"/>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C82DA61F-669F-40D2-BCDE-DE0A763209BC}" type="presOf" srcId="{FC8E4F8A-67E5-2045-9D5E-3FC794334922}" destId="{07F2754C-E745-394E-B448-01F146E9A493}" srcOrd="0" destOrd="0" presId="urn:microsoft.com/office/officeart/2005/8/layout/hierarchy4"/>
    <dgm:cxn modelId="{6D7556FF-1EB6-454B-AF22-70EC9781CB9D}" type="presParOf" srcId="{07F2754C-E745-394E-B448-01F146E9A493}" destId="{72BF7568-AE61-D44D-B503-BA1B66CA9BB1}" srcOrd="0" destOrd="0" presId="urn:microsoft.com/office/officeart/2005/8/layout/hierarchy4"/>
    <dgm:cxn modelId="{FA3969EA-3CAB-4255-95E1-A9B5D54DF19D}" type="presParOf" srcId="{72BF7568-AE61-D44D-B503-BA1B66CA9BB1}" destId="{FF7A9D10-FC52-814C-BC88-3CB8D987E563}" srcOrd="0" destOrd="0" presId="urn:microsoft.com/office/officeart/2005/8/layout/hierarchy4"/>
    <dgm:cxn modelId="{72D95035-5FFE-4B07-B0A7-5E6ACD9BA498}" type="presParOf" srcId="{72BF7568-AE61-D44D-B503-BA1B66CA9BB1}" destId="{45E330AC-B148-B345-9481-A07AB4710ACD}" srcOrd="1" destOrd="0" presId="urn:microsoft.com/office/officeart/2005/8/layout/hierarchy4"/>
    <dgm:cxn modelId="{CCA09511-D803-413C-B84D-2C71CFB42A79}" type="presParOf" srcId="{07F2754C-E745-394E-B448-01F146E9A493}" destId="{18C604F1-C22A-4E48-89B9-E1871522632F}" srcOrd="1" destOrd="0" presId="urn:microsoft.com/office/officeart/2005/8/layout/hierarchy4"/>
    <dgm:cxn modelId="{521F1658-E16D-4248-B18B-FF437C1AE06A}" type="presParOf" srcId="{07F2754C-E745-394E-B448-01F146E9A493}" destId="{4F740ECE-EE3A-3C41-991C-EA6F60703047}" srcOrd="2" destOrd="0" presId="urn:microsoft.com/office/officeart/2005/8/layout/hierarchy4"/>
    <dgm:cxn modelId="{966782CF-E264-4F62-82FD-0CB8A9F1595D}" type="presParOf" srcId="{4F740ECE-EE3A-3C41-991C-EA6F60703047}" destId="{A97B6EE3-C913-9249-9BB0-F869F56702F9}" srcOrd="0" destOrd="0" presId="urn:microsoft.com/office/officeart/2005/8/layout/hierarchy4"/>
    <dgm:cxn modelId="{95AC47E1-A030-4826-88BF-F61E817DD74A}" type="presParOf" srcId="{4F740ECE-EE3A-3C41-991C-EA6F60703047}" destId="{576DEBAB-9492-7148-B255-B69B39AEEFD5}" srcOrd="1" destOrd="0" presId="urn:microsoft.com/office/officeart/2005/8/layout/hierarchy4"/>
    <dgm:cxn modelId="{DD612165-56C3-42CC-9313-BBB05E50FBC0}" type="presParOf" srcId="{07F2754C-E745-394E-B448-01F146E9A493}" destId="{3E3E1513-051B-D747-9578-5157F0BD2606}" srcOrd="3" destOrd="0" presId="urn:microsoft.com/office/officeart/2005/8/layout/hierarchy4"/>
    <dgm:cxn modelId="{6EB9D687-E53E-4D0C-BF37-194334F231E4}" type="presParOf" srcId="{07F2754C-E745-394E-B448-01F146E9A493}" destId="{2349EFCC-D6EF-F14F-8F03-59B42D87120C}" srcOrd="4" destOrd="0" presId="urn:microsoft.com/office/officeart/2005/8/layout/hierarchy4"/>
    <dgm:cxn modelId="{D80D1EAA-55B1-4233-8526-7C526866B44D}" type="presParOf" srcId="{2349EFCC-D6EF-F14F-8F03-59B42D87120C}" destId="{027D962D-2EA5-464F-827D-5FE1D8B618A1}" srcOrd="0" destOrd="0" presId="urn:microsoft.com/office/officeart/2005/8/layout/hierarchy4"/>
    <dgm:cxn modelId="{BAF72E55-69C1-44E6-9122-B280398FF9AE}" type="presParOf" srcId="{2349EFCC-D6EF-F14F-8F03-59B42D87120C}" destId="{5D52124E-E701-A14E-978B-675C86D7D941}" srcOrd="1" destOrd="0" presId="urn:microsoft.com/office/officeart/2005/8/layout/hierarchy4"/>
    <dgm:cxn modelId="{C2C3BFC5-3C41-4BC9-877C-D9A341C2141D}" type="presParOf" srcId="{07F2754C-E745-394E-B448-01F146E9A493}" destId="{93302620-31AB-4744-93E7-EAF6C7A77D6E}" srcOrd="5" destOrd="0" presId="urn:microsoft.com/office/officeart/2005/8/layout/hierarchy4"/>
    <dgm:cxn modelId="{9AA81065-EAFF-441D-885A-0FDC2D43D16C}" type="presParOf" srcId="{07F2754C-E745-394E-B448-01F146E9A493}" destId="{79A592FD-AF06-9642-8007-09D471248D33}" srcOrd="6" destOrd="0" presId="urn:microsoft.com/office/officeart/2005/8/layout/hierarchy4"/>
    <dgm:cxn modelId="{B9A60FDE-2096-4B64-A6A7-06F87C13BB7A}" type="presParOf" srcId="{79A592FD-AF06-9642-8007-09D471248D33}" destId="{D73A2411-5BF3-5048-8FDD-2AA7C8DF38E0}" srcOrd="0" destOrd="0" presId="urn:microsoft.com/office/officeart/2005/8/layout/hierarchy4"/>
    <dgm:cxn modelId="{5DA2560B-F2CD-4A32-8DE1-A5A35D120C97}" type="presParOf" srcId="{79A592FD-AF06-9642-8007-09D471248D33}" destId="{A5B95F44-F627-F14E-A903-667E3E942B16}" srcOrd="1" destOrd="0" presId="urn:microsoft.com/office/officeart/2005/8/layout/hierarchy4"/>
    <dgm:cxn modelId="{CF6BF57C-A16D-43DE-AF48-196A9FB6D1A2}" type="presParOf" srcId="{07F2754C-E745-394E-B448-01F146E9A493}" destId="{236AC1D0-3375-824D-8FDC-0F1798C4046E}" srcOrd="7" destOrd="0" presId="urn:microsoft.com/office/officeart/2005/8/layout/hierarchy4"/>
    <dgm:cxn modelId="{6E24118F-1CD7-466A-8DA0-06C505048B21}" type="presParOf" srcId="{07F2754C-E745-394E-B448-01F146E9A493}" destId="{3E9A3401-CDF7-8E46-87B0-A71177856B62}" srcOrd="8" destOrd="0" presId="urn:microsoft.com/office/officeart/2005/8/layout/hierarchy4"/>
    <dgm:cxn modelId="{D45E046A-D8BE-4EA2-B045-191E472FBD8A}" type="presParOf" srcId="{3E9A3401-CDF7-8E46-87B0-A71177856B62}" destId="{71EFDBA4-FD34-C04D-A343-12FFAAA2219C}" srcOrd="0" destOrd="0" presId="urn:microsoft.com/office/officeart/2005/8/layout/hierarchy4"/>
    <dgm:cxn modelId="{65948CD6-13A8-4AF0-ABB0-847C96A9CB88}" type="presParOf" srcId="{3E9A3401-CDF7-8E46-87B0-A71177856B62}" destId="{500AD90E-E799-0C4E-910B-A97A68C40A9E}" srcOrd="1" destOrd="0" presId="urn:microsoft.com/office/officeart/2005/8/layout/hierarchy4"/>
    <dgm:cxn modelId="{89B465AE-84BF-42CF-81C2-9110422A009E}" type="presParOf" srcId="{07F2754C-E745-394E-B448-01F146E9A493}" destId="{F70D16F5-85BA-F245-851A-4A66C7DF421D}" srcOrd="9" destOrd="0" presId="urn:microsoft.com/office/officeart/2005/8/layout/hierarchy4"/>
    <dgm:cxn modelId="{79449F35-CF2C-4C12-9F86-61D9B393E6A1}" type="presParOf" srcId="{07F2754C-E745-394E-B448-01F146E9A493}" destId="{6B050408-9C32-724B-B50B-C759B83C7008}" srcOrd="10" destOrd="0" presId="urn:microsoft.com/office/officeart/2005/8/layout/hierarchy4"/>
    <dgm:cxn modelId="{A7AB338C-58DC-4453-97D5-053929A841A0}" type="presParOf" srcId="{6B050408-9C32-724B-B50B-C759B83C7008}" destId="{C52D1841-36E2-9D4B-BC9F-A24074B8AAD3}" srcOrd="0" destOrd="0" presId="urn:microsoft.com/office/officeart/2005/8/layout/hierarchy4"/>
    <dgm:cxn modelId="{4F43782F-8274-4EEC-BCF7-2F17DE692AC4}"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YARN</a:t>
          </a:r>
          <a:endParaRPr lang="en-US" sz="1200" b="0" i="0" dirty="0">
            <a:latin typeface="Helvetica Neue Thin" charset="0"/>
            <a:ea typeface="Helvetica Neue Thin" charset="0"/>
            <a:cs typeface="Helvetica Neue Thin" charset="0"/>
          </a:endParaRPr>
        </a:p>
      </dgm:t>
    </dgm:pt>
    <dgm:pt modelId="{FC7148B5-AEE4-E04A-B4FB-72A85EF5D940}" type="par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33D93A36-9B60-EC44-9D4A-A7EB8321DFFD}" type="sib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FB0B53D9-195C-E342-956D-F618DF62762F}">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HBase</a:t>
          </a:r>
          <a:endParaRPr lang="en-US" sz="1200" b="0" i="0" dirty="0">
            <a:latin typeface="Helvetica Neue Thin" charset="0"/>
            <a:ea typeface="Helvetica Neue Thin" charset="0"/>
            <a:cs typeface="Helvetica Neue Thin" charset="0"/>
          </a:endParaRPr>
        </a:p>
      </dgm:t>
    </dgm:pt>
    <dgm:pt modelId="{B5CA3A2B-F6F0-1D4F-9108-A123E5BB82B2}" type="par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A0F1DF69-79A4-5A4A-B4FE-EBD450354025}" type="sib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027B2473-40A2-3B43-B43F-38DEED3C23F6}">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Flume</a:t>
          </a:r>
          <a:endParaRPr lang="en-US" sz="1200" b="0" i="0" dirty="0">
            <a:latin typeface="Helvetica Neue Thin" charset="0"/>
            <a:ea typeface="Helvetica Neue Thin" charset="0"/>
            <a:cs typeface="Helvetica Neue Thin" charset="0"/>
          </a:endParaRPr>
        </a:p>
      </dgm:t>
    </dgm:pt>
    <dgm:pt modelId="{BA77F311-3B04-B247-B68A-70B04552A3DE}" type="par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2091BAEF-6F31-D84F-97CC-2ECF5B035F26}" type="sib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B791BFEE-811F-614D-9E2F-A9E3C1B09519}">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qoop</a:t>
          </a:r>
          <a:endParaRPr lang="en-US" sz="1200" b="0" i="0" dirty="0">
            <a:latin typeface="Helvetica Neue Thin" charset="0"/>
            <a:ea typeface="Helvetica Neue Thin" charset="0"/>
            <a:cs typeface="Helvetica Neue Thin" charset="0"/>
          </a:endParaRPr>
        </a:p>
      </dgm:t>
    </dgm:pt>
    <dgm:pt modelId="{61DC409F-BF87-F247-A67F-21096AD9CFD3}" type="par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585B9CB7-8FB4-D94F-979B-A2F34A126751}" type="sib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D459B528-A2E8-9D40-B9F3-A1953FDF22D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olr / Lucene</a:t>
          </a:r>
          <a:endParaRPr lang="en-US" sz="1200" b="0" i="0" dirty="0">
            <a:latin typeface="Helvetica Neue Thin" charset="0"/>
            <a:ea typeface="Helvetica Neue Thin" charset="0"/>
            <a:cs typeface="Helvetica Neue Thin" charset="0"/>
          </a:endParaRPr>
        </a:p>
      </dgm:t>
    </dgm:pt>
    <dgm:pt modelId="{D4349E50-BD21-A443-89BC-5D8432335ADC}" type="par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1EB380D0-5C93-FD4B-AEC0-2890B45444BD}" type="sib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E3485FBA-95F2-054A-AEC2-229E0DA3A15E}">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Ambari</a:t>
          </a:r>
          <a:endParaRPr lang="en-US" sz="1200" b="0" i="0" dirty="0">
            <a:latin typeface="Helvetica Neue Thin" charset="0"/>
            <a:ea typeface="Helvetica Neue Thin" charset="0"/>
            <a:cs typeface="Helvetica Neue Thin" charset="0"/>
          </a:endParaRPr>
        </a:p>
      </dgm:t>
    </dgm:pt>
    <dgm:pt modelId="{12E1C44F-7698-124D-8B08-8F60057B054D}" type="par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2AC2EF0C-2EE3-6640-A796-8994BF99D979}" type="sib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99495A53-B1A4-E54A-BDED-90569695457E}" srcId="{FC8E4F8A-67E5-2045-9D5E-3FC794334922}" destId="{D459B528-A2E8-9D40-B9F3-A1953FDF22D7}" srcOrd="5" destOrd="0" parTransId="{D4349E50-BD21-A443-89BC-5D8432335ADC}" sibTransId="{1EB380D0-5C93-FD4B-AEC0-2890B45444BD}"/>
    <dgm:cxn modelId="{B62DCCE5-3AC8-4909-A38E-95AC934F4239}" type="presOf" srcId="{E3485FBA-95F2-054A-AEC2-229E0DA3A15E}" destId="{A97B6EE3-C913-9249-9BB0-F869F56702F9}" srcOrd="0" destOrd="0" presId="urn:microsoft.com/office/officeart/2005/8/layout/hierarchy4"/>
    <dgm:cxn modelId="{A6108C85-02A1-443E-B0EB-EEB42551C470}" type="presOf" srcId="{FC8E4F8A-67E5-2045-9D5E-3FC794334922}" destId="{07F2754C-E745-394E-B448-01F146E9A493}" srcOrd="0" destOrd="0" presId="urn:microsoft.com/office/officeart/2005/8/layout/hierarchy4"/>
    <dgm:cxn modelId="{DE674D19-7FB8-498C-9DBD-46AA894F87F5}" type="presOf" srcId="{2F9F089B-6CDE-3644-A71A-A5129F9689C7}" destId="{FF7A9D10-FC52-814C-BC88-3CB8D987E563}" srcOrd="0" destOrd="0" presId="urn:microsoft.com/office/officeart/2005/8/layout/hierarchy4"/>
    <dgm:cxn modelId="{E009CDA3-25EB-4C92-BFDD-3175BC47656A}" type="presOf" srcId="{FB0B53D9-195C-E342-956D-F618DF62762F}" destId="{027D962D-2EA5-464F-827D-5FE1D8B618A1}" srcOrd="0" destOrd="0" presId="urn:microsoft.com/office/officeart/2005/8/layout/hierarchy4"/>
    <dgm:cxn modelId="{336EA3E3-3A7B-4E68-881D-5EF56D32C84A}" type="presOf" srcId="{027B2473-40A2-3B43-B43F-38DEED3C23F6}" destId="{D73A2411-5BF3-5048-8FDD-2AA7C8DF38E0}" srcOrd="0" destOrd="0" presId="urn:microsoft.com/office/officeart/2005/8/layout/hierarchy4"/>
    <dgm:cxn modelId="{C0EA9BC8-6019-4460-AFCF-CA913FC3E1AA}" type="presOf" srcId="{B791BFEE-811F-614D-9E2F-A9E3C1B09519}" destId="{71EFDBA4-FD34-C04D-A343-12FFAAA2219C}"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EBE28BA0-EFBE-6E4F-B4BB-288E02289E0D}" srcId="{FC8E4F8A-67E5-2045-9D5E-3FC794334922}" destId="{B791BFEE-811F-614D-9E2F-A9E3C1B09519}" srcOrd="4" destOrd="0" parTransId="{61DC409F-BF87-F247-A67F-21096AD9CFD3}" sibTransId="{585B9CB7-8FB4-D94F-979B-A2F34A126751}"/>
    <dgm:cxn modelId="{7299BF99-1417-2849-849C-D1CD85A7418A}" srcId="{FC8E4F8A-67E5-2045-9D5E-3FC794334922}" destId="{2F9F089B-6CDE-3644-A71A-A5129F9689C7}" srcOrd="0" destOrd="0" parTransId="{FC7148B5-AEE4-E04A-B4FB-72A85EF5D940}" sibTransId="{33D93A36-9B60-EC44-9D4A-A7EB8321DFFD}"/>
    <dgm:cxn modelId="{60376F9F-391A-43DF-AD58-F685A23AF08D}" type="presOf" srcId="{D459B528-A2E8-9D40-B9F3-A1953FDF22D7}" destId="{C52D1841-36E2-9D4B-BC9F-A24074B8AAD3}" srcOrd="0" destOrd="0" presId="urn:microsoft.com/office/officeart/2005/8/layout/hierarchy4"/>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574F48F2-8AF0-4175-8AD5-AA7164B69306}" type="presParOf" srcId="{07F2754C-E745-394E-B448-01F146E9A493}" destId="{72BF7568-AE61-D44D-B503-BA1B66CA9BB1}" srcOrd="0" destOrd="0" presId="urn:microsoft.com/office/officeart/2005/8/layout/hierarchy4"/>
    <dgm:cxn modelId="{409E582A-4F7A-423B-AE0F-9F7A954AF6FB}" type="presParOf" srcId="{72BF7568-AE61-D44D-B503-BA1B66CA9BB1}" destId="{FF7A9D10-FC52-814C-BC88-3CB8D987E563}" srcOrd="0" destOrd="0" presId="urn:microsoft.com/office/officeart/2005/8/layout/hierarchy4"/>
    <dgm:cxn modelId="{08A7A03F-613B-4B52-B32C-57F229E7EE11}" type="presParOf" srcId="{72BF7568-AE61-D44D-B503-BA1B66CA9BB1}" destId="{45E330AC-B148-B345-9481-A07AB4710ACD}" srcOrd="1" destOrd="0" presId="urn:microsoft.com/office/officeart/2005/8/layout/hierarchy4"/>
    <dgm:cxn modelId="{682A742F-CC77-4FF9-B80F-C66F02449BF9}" type="presParOf" srcId="{07F2754C-E745-394E-B448-01F146E9A493}" destId="{18C604F1-C22A-4E48-89B9-E1871522632F}" srcOrd="1" destOrd="0" presId="urn:microsoft.com/office/officeart/2005/8/layout/hierarchy4"/>
    <dgm:cxn modelId="{40B35799-4143-4E6A-A8FE-DF853D31CA5A}" type="presParOf" srcId="{07F2754C-E745-394E-B448-01F146E9A493}" destId="{4F740ECE-EE3A-3C41-991C-EA6F60703047}" srcOrd="2" destOrd="0" presId="urn:microsoft.com/office/officeart/2005/8/layout/hierarchy4"/>
    <dgm:cxn modelId="{70EE62A9-001D-47DD-A833-A6700FC39220}" type="presParOf" srcId="{4F740ECE-EE3A-3C41-991C-EA6F60703047}" destId="{A97B6EE3-C913-9249-9BB0-F869F56702F9}" srcOrd="0" destOrd="0" presId="urn:microsoft.com/office/officeart/2005/8/layout/hierarchy4"/>
    <dgm:cxn modelId="{3004F73F-9A5D-4DFC-A6AC-0BB656A160DB}" type="presParOf" srcId="{4F740ECE-EE3A-3C41-991C-EA6F60703047}" destId="{576DEBAB-9492-7148-B255-B69B39AEEFD5}" srcOrd="1" destOrd="0" presId="urn:microsoft.com/office/officeart/2005/8/layout/hierarchy4"/>
    <dgm:cxn modelId="{842EF1F9-7277-4FF4-904E-09157F4D3C05}" type="presParOf" srcId="{07F2754C-E745-394E-B448-01F146E9A493}" destId="{3E3E1513-051B-D747-9578-5157F0BD2606}" srcOrd="3" destOrd="0" presId="urn:microsoft.com/office/officeart/2005/8/layout/hierarchy4"/>
    <dgm:cxn modelId="{B91C1769-199C-469A-81AA-6956B9ACA996}" type="presParOf" srcId="{07F2754C-E745-394E-B448-01F146E9A493}" destId="{2349EFCC-D6EF-F14F-8F03-59B42D87120C}" srcOrd="4" destOrd="0" presId="urn:microsoft.com/office/officeart/2005/8/layout/hierarchy4"/>
    <dgm:cxn modelId="{D96412E0-3EFE-4592-9B88-1C0F9D0CBC32}" type="presParOf" srcId="{2349EFCC-D6EF-F14F-8F03-59B42D87120C}" destId="{027D962D-2EA5-464F-827D-5FE1D8B618A1}" srcOrd="0" destOrd="0" presId="urn:microsoft.com/office/officeart/2005/8/layout/hierarchy4"/>
    <dgm:cxn modelId="{77527A09-D777-4D57-9013-A887612F57D5}" type="presParOf" srcId="{2349EFCC-D6EF-F14F-8F03-59B42D87120C}" destId="{5D52124E-E701-A14E-978B-675C86D7D941}" srcOrd="1" destOrd="0" presId="urn:microsoft.com/office/officeart/2005/8/layout/hierarchy4"/>
    <dgm:cxn modelId="{E8A40319-6B2E-4E13-8C25-3BC253CE6C68}" type="presParOf" srcId="{07F2754C-E745-394E-B448-01F146E9A493}" destId="{93302620-31AB-4744-93E7-EAF6C7A77D6E}" srcOrd="5" destOrd="0" presId="urn:microsoft.com/office/officeart/2005/8/layout/hierarchy4"/>
    <dgm:cxn modelId="{77105F56-DF4F-467C-BCFA-DB62A5182378}" type="presParOf" srcId="{07F2754C-E745-394E-B448-01F146E9A493}" destId="{79A592FD-AF06-9642-8007-09D471248D33}" srcOrd="6" destOrd="0" presId="urn:microsoft.com/office/officeart/2005/8/layout/hierarchy4"/>
    <dgm:cxn modelId="{DEC79811-F2FA-4C9C-B37B-617F8090E616}" type="presParOf" srcId="{79A592FD-AF06-9642-8007-09D471248D33}" destId="{D73A2411-5BF3-5048-8FDD-2AA7C8DF38E0}" srcOrd="0" destOrd="0" presId="urn:microsoft.com/office/officeart/2005/8/layout/hierarchy4"/>
    <dgm:cxn modelId="{0DB20E4E-B26A-4EC0-8F60-F7A0FAD688E1}" type="presParOf" srcId="{79A592FD-AF06-9642-8007-09D471248D33}" destId="{A5B95F44-F627-F14E-A903-667E3E942B16}" srcOrd="1" destOrd="0" presId="urn:microsoft.com/office/officeart/2005/8/layout/hierarchy4"/>
    <dgm:cxn modelId="{B07CDBF1-F59A-4E5A-B23E-D54DBB368EBE}" type="presParOf" srcId="{07F2754C-E745-394E-B448-01F146E9A493}" destId="{236AC1D0-3375-824D-8FDC-0F1798C4046E}" srcOrd="7" destOrd="0" presId="urn:microsoft.com/office/officeart/2005/8/layout/hierarchy4"/>
    <dgm:cxn modelId="{7B8907BA-010E-49F2-A7B5-FE7FCE32A3CD}" type="presParOf" srcId="{07F2754C-E745-394E-B448-01F146E9A493}" destId="{3E9A3401-CDF7-8E46-87B0-A71177856B62}" srcOrd="8" destOrd="0" presId="urn:microsoft.com/office/officeart/2005/8/layout/hierarchy4"/>
    <dgm:cxn modelId="{0851C47F-99AC-4169-A629-0095CDC8304B}" type="presParOf" srcId="{3E9A3401-CDF7-8E46-87B0-A71177856B62}" destId="{71EFDBA4-FD34-C04D-A343-12FFAAA2219C}" srcOrd="0" destOrd="0" presId="urn:microsoft.com/office/officeart/2005/8/layout/hierarchy4"/>
    <dgm:cxn modelId="{8DEA28A0-A97E-4D52-86E6-2CB0450EC2DA}" type="presParOf" srcId="{3E9A3401-CDF7-8E46-87B0-A71177856B62}" destId="{500AD90E-E799-0C4E-910B-A97A68C40A9E}" srcOrd="1" destOrd="0" presId="urn:microsoft.com/office/officeart/2005/8/layout/hierarchy4"/>
    <dgm:cxn modelId="{506BA9EA-6430-4E68-9FE8-5F94167F5E70}" type="presParOf" srcId="{07F2754C-E745-394E-B448-01F146E9A493}" destId="{F70D16F5-85BA-F245-851A-4A66C7DF421D}" srcOrd="9" destOrd="0" presId="urn:microsoft.com/office/officeart/2005/8/layout/hierarchy4"/>
    <dgm:cxn modelId="{3447435E-3A13-43F0-B4DF-7E1DF0C02763}" type="presParOf" srcId="{07F2754C-E745-394E-B448-01F146E9A493}" destId="{6B050408-9C32-724B-B50B-C759B83C7008}" srcOrd="10" destOrd="0" presId="urn:microsoft.com/office/officeart/2005/8/layout/hierarchy4"/>
    <dgm:cxn modelId="{8B849B4A-1520-4192-9973-24C24871CCD5}" type="presParOf" srcId="{6B050408-9C32-724B-B50B-C759B83C7008}" destId="{C52D1841-36E2-9D4B-BC9F-A24074B8AAD3}" srcOrd="0" destOrd="0" presId="urn:microsoft.com/office/officeart/2005/8/layout/hierarchy4"/>
    <dgm:cxn modelId="{1FCE37AB-5078-40E5-A21F-D7D79B9156A3}"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HDFS</a:t>
          </a:r>
          <a:endParaRPr lang="en-US" sz="1200" b="0" i="0" dirty="0">
            <a:latin typeface="Helvetica Neue Light" charset="0"/>
            <a:ea typeface="Helvetica Neue Light" charset="0"/>
            <a:cs typeface="Helvetica Neue Light" charset="0"/>
          </a:endParaRPr>
        </a:p>
      </dgm:t>
    </dgm:pt>
    <dgm:pt modelId="{FC7148B5-AEE4-E04A-B4FB-72A85EF5D940}" type="par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33D93A36-9B60-EC44-9D4A-A7EB8321DFFD}" type="sibTrans" cxnId="{7299BF99-1417-2849-849C-D1CD85A7418A}">
      <dgm:prSet/>
      <dgm:spPr/>
      <dgm:t>
        <a:bodyPr/>
        <a:lstStyle/>
        <a:p>
          <a:endParaRPr lang="en-US" sz="1200" b="0" i="0">
            <a:latin typeface="Helvetica Neue Light" charset="0"/>
            <a:ea typeface="Helvetica Neue Light" charset="0"/>
            <a:cs typeface="Helvetica Neue Light" charset="0"/>
          </a:endParaRPr>
        </a:p>
      </dgm:t>
    </dgm:pt>
    <dgm:pt modelId="{FB0B53D9-195C-E342-956D-F618DF62762F}">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Spark</a:t>
          </a:r>
          <a:endParaRPr lang="en-US" sz="1200" b="0" i="0" dirty="0">
            <a:latin typeface="Helvetica Neue Light" charset="0"/>
            <a:ea typeface="Helvetica Neue Light" charset="0"/>
            <a:cs typeface="Helvetica Neue Light" charset="0"/>
          </a:endParaRPr>
        </a:p>
      </dgm:t>
    </dgm:pt>
    <dgm:pt modelId="{B5CA3A2B-F6F0-1D4F-9108-A123E5BB82B2}" type="par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A0F1DF69-79A4-5A4A-B4FE-EBD450354025}" type="sibTrans" cxnId="{7B7936C9-EE18-6641-B47C-71C825F154DB}">
      <dgm:prSet/>
      <dgm:spPr/>
      <dgm:t>
        <a:bodyPr/>
        <a:lstStyle/>
        <a:p>
          <a:endParaRPr lang="en-US" sz="1200" b="0" i="0">
            <a:latin typeface="Helvetica Neue Light" charset="0"/>
            <a:ea typeface="Helvetica Neue Light" charset="0"/>
            <a:cs typeface="Helvetica Neue Light" charset="0"/>
          </a:endParaRPr>
        </a:p>
      </dgm:t>
    </dgm:pt>
    <dgm:pt modelId="{027B2473-40A2-3B43-B43F-38DEED3C23F6}">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ive</a:t>
          </a:r>
          <a:endParaRPr lang="en-US" sz="1200" b="0" i="0" dirty="0">
            <a:latin typeface="Helvetica Neue Light" charset="0"/>
            <a:ea typeface="Helvetica Neue Light" charset="0"/>
            <a:cs typeface="Helvetica Neue Light" charset="0"/>
          </a:endParaRPr>
        </a:p>
      </dgm:t>
    </dgm:pt>
    <dgm:pt modelId="{BA77F311-3B04-B247-B68A-70B04552A3DE}" type="par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2091BAEF-6F31-D84F-97CC-2ECF5B035F26}" type="sibTrans" cxnId="{E32A4819-DA2E-2F47-A2F5-682D672333AE}">
      <dgm:prSet/>
      <dgm:spPr/>
      <dgm:t>
        <a:bodyPr/>
        <a:lstStyle/>
        <a:p>
          <a:endParaRPr lang="en-US" sz="1200" b="0" i="0">
            <a:latin typeface="Helvetica Neue Light" charset="0"/>
            <a:ea typeface="Helvetica Neue Light" charset="0"/>
            <a:cs typeface="Helvetica Neue Light" charset="0"/>
          </a:endParaRPr>
        </a:p>
      </dgm:t>
    </dgm:pt>
    <dgm:pt modelId="{B791BFEE-811F-614D-9E2F-A9E3C1B09519}">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HCatalog</a:t>
          </a:r>
          <a:endParaRPr lang="en-US" sz="1200" b="0" i="0" dirty="0">
            <a:latin typeface="Helvetica Neue Light" charset="0"/>
            <a:ea typeface="Helvetica Neue Light" charset="0"/>
            <a:cs typeface="Helvetica Neue Light" charset="0"/>
          </a:endParaRPr>
        </a:p>
      </dgm:t>
    </dgm:pt>
    <dgm:pt modelId="{61DC409F-BF87-F247-A67F-21096AD9CFD3}" type="par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585B9CB7-8FB4-D94F-979B-A2F34A126751}" type="sibTrans" cxnId="{EBE28BA0-EFBE-6E4F-B4BB-288E02289E0D}">
      <dgm:prSet/>
      <dgm:spPr/>
      <dgm:t>
        <a:bodyPr/>
        <a:lstStyle/>
        <a:p>
          <a:endParaRPr lang="en-US" sz="1200" b="0" i="0">
            <a:latin typeface="Helvetica Neue Light" charset="0"/>
            <a:ea typeface="Helvetica Neue Light" charset="0"/>
            <a:cs typeface="Helvetica Neue Light" charset="0"/>
          </a:endParaRPr>
        </a:p>
      </dgm:t>
    </dgm:pt>
    <dgm:pt modelId="{D459B528-A2E8-9D40-B9F3-A1953FDF22D7}">
      <dgm:prSet custT="1"/>
      <dgm:spPr>
        <a:solidFill>
          <a:srgbClr val="0A5889"/>
        </a:solidFill>
      </dgm:spPr>
      <dgm:t>
        <a:bodyPr/>
        <a:lstStyle/>
        <a:p>
          <a:r>
            <a:rPr lang="en-US" sz="1200" b="0" i="0" dirty="0" smtClean="0">
              <a:latin typeface="Helvetica Neue Light" charset="0"/>
              <a:ea typeface="Helvetica Neue Light" charset="0"/>
              <a:cs typeface="Helvetica Neue Light" charset="0"/>
            </a:rPr>
            <a:t>Pig</a:t>
          </a:r>
          <a:endParaRPr lang="en-US" sz="1200" b="0" i="0" dirty="0">
            <a:latin typeface="Helvetica Neue Light" charset="0"/>
            <a:ea typeface="Helvetica Neue Light" charset="0"/>
            <a:cs typeface="Helvetica Neue Light" charset="0"/>
          </a:endParaRPr>
        </a:p>
      </dgm:t>
    </dgm:pt>
    <dgm:pt modelId="{D4349E50-BD21-A443-89BC-5D8432335ADC}" type="par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1EB380D0-5C93-FD4B-AEC0-2890B45444BD}" type="sibTrans" cxnId="{99495A53-B1A4-E54A-BDED-90569695457E}">
      <dgm:prSet/>
      <dgm:spPr/>
      <dgm:t>
        <a:bodyPr/>
        <a:lstStyle/>
        <a:p>
          <a:endParaRPr lang="en-US" sz="1200" b="0" i="0">
            <a:latin typeface="Helvetica Neue Light" charset="0"/>
            <a:ea typeface="Helvetica Neue Light" charset="0"/>
            <a:cs typeface="Helvetica Neue Light" charset="0"/>
          </a:endParaRPr>
        </a:p>
      </dgm:t>
    </dgm:pt>
    <dgm:pt modelId="{E3485FBA-95F2-054A-AEC2-229E0DA3A15E}">
      <dgm:prSet custT="1"/>
      <dgm:spPr>
        <a:solidFill>
          <a:srgbClr val="EB6D00"/>
        </a:solidFill>
      </dgm:spPr>
      <dgm:t>
        <a:bodyPr/>
        <a:lstStyle/>
        <a:p>
          <a:r>
            <a:rPr lang="en-US" sz="1200" b="0" i="0" dirty="0" smtClean="0">
              <a:latin typeface="Helvetica Neue Light" charset="0"/>
              <a:ea typeface="Helvetica Neue Light" charset="0"/>
              <a:cs typeface="Helvetica Neue Light" charset="0"/>
            </a:rPr>
            <a:t>MapReduce</a:t>
          </a:r>
          <a:endParaRPr lang="en-US" sz="1200" b="0" i="0" dirty="0">
            <a:latin typeface="Helvetica Neue Light" charset="0"/>
            <a:ea typeface="Helvetica Neue Light" charset="0"/>
            <a:cs typeface="Helvetica Neue Light" charset="0"/>
          </a:endParaRPr>
        </a:p>
      </dgm:t>
    </dgm:pt>
    <dgm:pt modelId="{12E1C44F-7698-124D-8B08-8F60057B054D}" type="par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2AC2EF0C-2EE3-6640-A796-8994BF99D979}" type="sibTrans" cxnId="{D5A212E3-513B-5C4C-978D-179B0697EB27}">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CB94D04B-997A-4BBF-9A42-45871990E2B6}" type="presOf" srcId="{D459B528-A2E8-9D40-B9F3-A1953FDF22D7}" destId="{C52D1841-36E2-9D4B-BC9F-A24074B8AAD3}"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6D9EF183-ABD9-48A4-985F-0FFE110F5981}" type="presOf" srcId="{FB0B53D9-195C-E342-956D-F618DF62762F}" destId="{027D962D-2EA5-464F-827D-5FE1D8B618A1}" srcOrd="0" destOrd="0" presId="urn:microsoft.com/office/officeart/2005/8/layout/hierarchy4"/>
    <dgm:cxn modelId="{7DCB93C5-C05F-42BC-8D7D-14C09867C627}" type="presOf" srcId="{2F9F089B-6CDE-3644-A71A-A5129F9689C7}" destId="{FF7A9D10-FC52-814C-BC88-3CB8D987E563}" srcOrd="0" destOrd="0" presId="urn:microsoft.com/office/officeart/2005/8/layout/hierarchy4"/>
    <dgm:cxn modelId="{675E34B6-35A9-482C-B622-C96E86452E9E}" type="presOf" srcId="{027B2473-40A2-3B43-B43F-38DEED3C23F6}" destId="{D73A2411-5BF3-5048-8FDD-2AA7C8DF38E0}" srcOrd="0" destOrd="0" presId="urn:microsoft.com/office/officeart/2005/8/layout/hierarchy4"/>
    <dgm:cxn modelId="{7B7936C9-EE18-6641-B47C-71C825F154DB}" srcId="{FC8E4F8A-67E5-2045-9D5E-3FC794334922}" destId="{FB0B53D9-195C-E342-956D-F618DF62762F}" srcOrd="2" destOrd="0" parTransId="{B5CA3A2B-F6F0-1D4F-9108-A123E5BB82B2}" sibTransId="{A0F1DF69-79A4-5A4A-B4FE-EBD450354025}"/>
    <dgm:cxn modelId="{EBE28BA0-EFBE-6E4F-B4BB-288E02289E0D}" srcId="{FC8E4F8A-67E5-2045-9D5E-3FC794334922}" destId="{B791BFEE-811F-614D-9E2F-A9E3C1B09519}" srcOrd="4" destOrd="0" parTransId="{61DC409F-BF87-F247-A67F-21096AD9CFD3}" sibTransId="{585B9CB7-8FB4-D94F-979B-A2F34A126751}"/>
    <dgm:cxn modelId="{7D92B724-6C17-437D-8B7E-CB006F82912C}" type="presOf" srcId="{E3485FBA-95F2-054A-AEC2-229E0DA3A15E}" destId="{A97B6EE3-C913-9249-9BB0-F869F56702F9}"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11D8F740-BB37-4438-9579-6B8D3CAF8820}" type="presOf" srcId="{B791BFEE-811F-614D-9E2F-A9E3C1B09519}" destId="{71EFDBA4-FD34-C04D-A343-12FFAAA2219C}" srcOrd="0" destOrd="0" presId="urn:microsoft.com/office/officeart/2005/8/layout/hierarchy4"/>
    <dgm:cxn modelId="{D4DB5E3D-0D35-4476-8A7E-26019EF98142}" type="presOf" srcId="{FC8E4F8A-67E5-2045-9D5E-3FC794334922}" destId="{07F2754C-E745-394E-B448-01F146E9A493}" srcOrd="0" destOrd="0" presId="urn:microsoft.com/office/officeart/2005/8/layout/hierarchy4"/>
    <dgm:cxn modelId="{B103197C-C8A9-4D3E-AC50-C31EB9966CE4}" type="presParOf" srcId="{07F2754C-E745-394E-B448-01F146E9A493}" destId="{72BF7568-AE61-D44D-B503-BA1B66CA9BB1}" srcOrd="0" destOrd="0" presId="urn:microsoft.com/office/officeart/2005/8/layout/hierarchy4"/>
    <dgm:cxn modelId="{4525AEE5-7729-4A17-AD9C-CA956A0B03D9}" type="presParOf" srcId="{72BF7568-AE61-D44D-B503-BA1B66CA9BB1}" destId="{FF7A9D10-FC52-814C-BC88-3CB8D987E563}" srcOrd="0" destOrd="0" presId="urn:microsoft.com/office/officeart/2005/8/layout/hierarchy4"/>
    <dgm:cxn modelId="{7F32FE37-A4EE-4BA3-8484-6F3C843A5C3C}" type="presParOf" srcId="{72BF7568-AE61-D44D-B503-BA1B66CA9BB1}" destId="{45E330AC-B148-B345-9481-A07AB4710ACD}" srcOrd="1" destOrd="0" presId="urn:microsoft.com/office/officeart/2005/8/layout/hierarchy4"/>
    <dgm:cxn modelId="{2E4BA407-C637-4A90-A2E2-5DDDB393B741}" type="presParOf" srcId="{07F2754C-E745-394E-B448-01F146E9A493}" destId="{18C604F1-C22A-4E48-89B9-E1871522632F}" srcOrd="1" destOrd="0" presId="urn:microsoft.com/office/officeart/2005/8/layout/hierarchy4"/>
    <dgm:cxn modelId="{38123BCD-597D-440A-A8E0-99CF2E6F0B9D}" type="presParOf" srcId="{07F2754C-E745-394E-B448-01F146E9A493}" destId="{4F740ECE-EE3A-3C41-991C-EA6F60703047}" srcOrd="2" destOrd="0" presId="urn:microsoft.com/office/officeart/2005/8/layout/hierarchy4"/>
    <dgm:cxn modelId="{FE88AB83-1CEE-41CF-A8DB-CB9D582834B9}" type="presParOf" srcId="{4F740ECE-EE3A-3C41-991C-EA6F60703047}" destId="{A97B6EE3-C913-9249-9BB0-F869F56702F9}" srcOrd="0" destOrd="0" presId="urn:microsoft.com/office/officeart/2005/8/layout/hierarchy4"/>
    <dgm:cxn modelId="{7F087A24-AFFC-4CFD-9F67-3972E944274C}" type="presParOf" srcId="{4F740ECE-EE3A-3C41-991C-EA6F60703047}" destId="{576DEBAB-9492-7148-B255-B69B39AEEFD5}" srcOrd="1" destOrd="0" presId="urn:microsoft.com/office/officeart/2005/8/layout/hierarchy4"/>
    <dgm:cxn modelId="{6189025D-D01C-4F14-89C5-E34EC92260CB}" type="presParOf" srcId="{07F2754C-E745-394E-B448-01F146E9A493}" destId="{3E3E1513-051B-D747-9578-5157F0BD2606}" srcOrd="3" destOrd="0" presId="urn:microsoft.com/office/officeart/2005/8/layout/hierarchy4"/>
    <dgm:cxn modelId="{77641357-2B5E-4BFD-9EAB-C1184E9E9264}" type="presParOf" srcId="{07F2754C-E745-394E-B448-01F146E9A493}" destId="{2349EFCC-D6EF-F14F-8F03-59B42D87120C}" srcOrd="4" destOrd="0" presId="urn:microsoft.com/office/officeart/2005/8/layout/hierarchy4"/>
    <dgm:cxn modelId="{6C2D4B93-ABDD-422C-9980-B27F187A5750}" type="presParOf" srcId="{2349EFCC-D6EF-F14F-8F03-59B42D87120C}" destId="{027D962D-2EA5-464F-827D-5FE1D8B618A1}" srcOrd="0" destOrd="0" presId="urn:microsoft.com/office/officeart/2005/8/layout/hierarchy4"/>
    <dgm:cxn modelId="{2A5748CF-EE5D-47A9-9BDB-05386CF89A5E}" type="presParOf" srcId="{2349EFCC-D6EF-F14F-8F03-59B42D87120C}" destId="{5D52124E-E701-A14E-978B-675C86D7D941}" srcOrd="1" destOrd="0" presId="urn:microsoft.com/office/officeart/2005/8/layout/hierarchy4"/>
    <dgm:cxn modelId="{2D8BD324-0886-4805-AA52-77BC1B79CEC3}" type="presParOf" srcId="{07F2754C-E745-394E-B448-01F146E9A493}" destId="{93302620-31AB-4744-93E7-EAF6C7A77D6E}" srcOrd="5" destOrd="0" presId="urn:microsoft.com/office/officeart/2005/8/layout/hierarchy4"/>
    <dgm:cxn modelId="{F88001B5-87DB-4488-8FEF-E056F02A37E4}" type="presParOf" srcId="{07F2754C-E745-394E-B448-01F146E9A493}" destId="{79A592FD-AF06-9642-8007-09D471248D33}" srcOrd="6" destOrd="0" presId="urn:microsoft.com/office/officeart/2005/8/layout/hierarchy4"/>
    <dgm:cxn modelId="{CF815089-34C0-4442-9B90-23C9935A235E}" type="presParOf" srcId="{79A592FD-AF06-9642-8007-09D471248D33}" destId="{D73A2411-5BF3-5048-8FDD-2AA7C8DF38E0}" srcOrd="0" destOrd="0" presId="urn:microsoft.com/office/officeart/2005/8/layout/hierarchy4"/>
    <dgm:cxn modelId="{8C6678B9-BDB9-4811-AFE4-F6EF649C2DFD}" type="presParOf" srcId="{79A592FD-AF06-9642-8007-09D471248D33}" destId="{A5B95F44-F627-F14E-A903-667E3E942B16}" srcOrd="1" destOrd="0" presId="urn:microsoft.com/office/officeart/2005/8/layout/hierarchy4"/>
    <dgm:cxn modelId="{6162EC0F-F566-4D3B-B301-B893BC59E2A2}" type="presParOf" srcId="{07F2754C-E745-394E-B448-01F146E9A493}" destId="{236AC1D0-3375-824D-8FDC-0F1798C4046E}" srcOrd="7" destOrd="0" presId="urn:microsoft.com/office/officeart/2005/8/layout/hierarchy4"/>
    <dgm:cxn modelId="{067550A6-A16C-4DDF-83E5-5B00501B9788}" type="presParOf" srcId="{07F2754C-E745-394E-B448-01F146E9A493}" destId="{3E9A3401-CDF7-8E46-87B0-A71177856B62}" srcOrd="8" destOrd="0" presId="urn:microsoft.com/office/officeart/2005/8/layout/hierarchy4"/>
    <dgm:cxn modelId="{418BEF45-1316-414D-9EE4-CF3C0C252F2A}" type="presParOf" srcId="{3E9A3401-CDF7-8E46-87B0-A71177856B62}" destId="{71EFDBA4-FD34-C04D-A343-12FFAAA2219C}" srcOrd="0" destOrd="0" presId="urn:microsoft.com/office/officeart/2005/8/layout/hierarchy4"/>
    <dgm:cxn modelId="{5454FD73-70C8-40CB-96AD-CEECF89E4B40}" type="presParOf" srcId="{3E9A3401-CDF7-8E46-87B0-A71177856B62}" destId="{500AD90E-E799-0C4E-910B-A97A68C40A9E}" srcOrd="1" destOrd="0" presId="urn:microsoft.com/office/officeart/2005/8/layout/hierarchy4"/>
    <dgm:cxn modelId="{452CD1C8-ABFA-4ED5-92DE-87349C5F666C}" type="presParOf" srcId="{07F2754C-E745-394E-B448-01F146E9A493}" destId="{F70D16F5-85BA-F245-851A-4A66C7DF421D}" srcOrd="9" destOrd="0" presId="urn:microsoft.com/office/officeart/2005/8/layout/hierarchy4"/>
    <dgm:cxn modelId="{9009E5EA-E725-47CC-B884-F42B45777EF2}" type="presParOf" srcId="{07F2754C-E745-394E-B448-01F146E9A493}" destId="{6B050408-9C32-724B-B50B-C759B83C7008}" srcOrd="10" destOrd="0" presId="urn:microsoft.com/office/officeart/2005/8/layout/hierarchy4"/>
    <dgm:cxn modelId="{BE754469-E278-44FD-908F-4B2D11947AB6}" type="presParOf" srcId="{6B050408-9C32-724B-B50B-C759B83C7008}" destId="{C52D1841-36E2-9D4B-BC9F-A24074B8AAD3}" srcOrd="0" destOrd="0" presId="urn:microsoft.com/office/officeart/2005/8/layout/hierarchy4"/>
    <dgm:cxn modelId="{3E3E4DE7-102E-4F55-BE21-8DE763D5D834}"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2F9F089B-6CDE-3644-A71A-A5129F9689C7}">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YARN</a:t>
          </a:r>
          <a:endParaRPr lang="en-US" sz="1200" b="0" i="0" dirty="0">
            <a:latin typeface="Helvetica Neue Thin" charset="0"/>
            <a:ea typeface="Helvetica Neue Thin" charset="0"/>
            <a:cs typeface="Helvetica Neue Thin" charset="0"/>
          </a:endParaRPr>
        </a:p>
      </dgm:t>
    </dgm:pt>
    <dgm:pt modelId="{FC7148B5-AEE4-E04A-B4FB-72A85EF5D940}" type="par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33D93A36-9B60-EC44-9D4A-A7EB8321DFFD}" type="sibTrans" cxnId="{7299BF99-1417-2849-849C-D1CD85A7418A}">
      <dgm:prSet/>
      <dgm:spPr/>
      <dgm:t>
        <a:bodyPr/>
        <a:lstStyle/>
        <a:p>
          <a:endParaRPr lang="en-US" sz="1200" b="0" i="0">
            <a:latin typeface="Helvetica Neue Thin" charset="0"/>
            <a:ea typeface="Helvetica Neue Thin" charset="0"/>
            <a:cs typeface="Helvetica Neue Thin" charset="0"/>
          </a:endParaRPr>
        </a:p>
      </dgm:t>
    </dgm:pt>
    <dgm:pt modelId="{FB0B53D9-195C-E342-956D-F618DF62762F}">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HBase</a:t>
          </a:r>
          <a:endParaRPr lang="en-US" sz="1200" b="0" i="0" dirty="0">
            <a:latin typeface="Helvetica Neue Thin" charset="0"/>
            <a:ea typeface="Helvetica Neue Thin" charset="0"/>
            <a:cs typeface="Helvetica Neue Thin" charset="0"/>
          </a:endParaRPr>
        </a:p>
      </dgm:t>
    </dgm:pt>
    <dgm:pt modelId="{B5CA3A2B-F6F0-1D4F-9108-A123E5BB82B2}" type="par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A0F1DF69-79A4-5A4A-B4FE-EBD450354025}" type="sibTrans" cxnId="{7B7936C9-EE18-6641-B47C-71C825F154DB}">
      <dgm:prSet/>
      <dgm:spPr/>
      <dgm:t>
        <a:bodyPr/>
        <a:lstStyle/>
        <a:p>
          <a:endParaRPr lang="en-US" sz="1200" b="0" i="0">
            <a:latin typeface="Helvetica Neue Thin" charset="0"/>
            <a:ea typeface="Helvetica Neue Thin" charset="0"/>
            <a:cs typeface="Helvetica Neue Thin" charset="0"/>
          </a:endParaRPr>
        </a:p>
      </dgm:t>
    </dgm:pt>
    <dgm:pt modelId="{027B2473-40A2-3B43-B43F-38DEED3C23F6}">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Flume</a:t>
          </a:r>
          <a:endParaRPr lang="en-US" sz="1200" b="0" i="0" dirty="0">
            <a:latin typeface="Helvetica Neue Thin" charset="0"/>
            <a:ea typeface="Helvetica Neue Thin" charset="0"/>
            <a:cs typeface="Helvetica Neue Thin" charset="0"/>
          </a:endParaRPr>
        </a:p>
      </dgm:t>
    </dgm:pt>
    <dgm:pt modelId="{BA77F311-3B04-B247-B68A-70B04552A3DE}" type="par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2091BAEF-6F31-D84F-97CC-2ECF5B035F26}" type="sibTrans" cxnId="{E32A4819-DA2E-2F47-A2F5-682D672333AE}">
      <dgm:prSet/>
      <dgm:spPr/>
      <dgm:t>
        <a:bodyPr/>
        <a:lstStyle/>
        <a:p>
          <a:endParaRPr lang="en-US" sz="1200" b="0" i="0">
            <a:latin typeface="Helvetica Neue Thin" charset="0"/>
            <a:ea typeface="Helvetica Neue Thin" charset="0"/>
            <a:cs typeface="Helvetica Neue Thin" charset="0"/>
          </a:endParaRPr>
        </a:p>
      </dgm:t>
    </dgm:pt>
    <dgm:pt modelId="{B791BFEE-811F-614D-9E2F-A9E3C1B09519}">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qoop</a:t>
          </a:r>
          <a:endParaRPr lang="en-US" sz="1200" b="0" i="0" dirty="0">
            <a:latin typeface="Helvetica Neue Thin" charset="0"/>
            <a:ea typeface="Helvetica Neue Thin" charset="0"/>
            <a:cs typeface="Helvetica Neue Thin" charset="0"/>
          </a:endParaRPr>
        </a:p>
      </dgm:t>
    </dgm:pt>
    <dgm:pt modelId="{61DC409F-BF87-F247-A67F-21096AD9CFD3}" type="par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585B9CB7-8FB4-D94F-979B-A2F34A126751}" type="sibTrans" cxnId="{EBE28BA0-EFBE-6E4F-B4BB-288E02289E0D}">
      <dgm:prSet/>
      <dgm:spPr/>
      <dgm:t>
        <a:bodyPr/>
        <a:lstStyle/>
        <a:p>
          <a:endParaRPr lang="en-US" sz="1200" b="0" i="0">
            <a:latin typeface="Helvetica Neue Thin" charset="0"/>
            <a:ea typeface="Helvetica Neue Thin" charset="0"/>
            <a:cs typeface="Helvetica Neue Thin" charset="0"/>
          </a:endParaRPr>
        </a:p>
      </dgm:t>
    </dgm:pt>
    <dgm:pt modelId="{D459B528-A2E8-9D40-B9F3-A1953FDF22D7}">
      <dgm:prSet custT="1"/>
      <dgm:spPr>
        <a:solidFill>
          <a:srgbClr val="0A5889"/>
        </a:solidFill>
      </dgm:spPr>
      <dgm:t>
        <a:bodyPr/>
        <a:lstStyle/>
        <a:p>
          <a:r>
            <a:rPr lang="en-US" sz="1200" b="0" i="0" dirty="0" smtClean="0">
              <a:latin typeface="Helvetica Neue Thin" charset="0"/>
              <a:ea typeface="Helvetica Neue Thin" charset="0"/>
              <a:cs typeface="Helvetica Neue Thin" charset="0"/>
            </a:rPr>
            <a:t>Solr / Lucene</a:t>
          </a:r>
          <a:endParaRPr lang="en-US" sz="1200" b="0" i="0" dirty="0">
            <a:latin typeface="Helvetica Neue Thin" charset="0"/>
            <a:ea typeface="Helvetica Neue Thin" charset="0"/>
            <a:cs typeface="Helvetica Neue Thin" charset="0"/>
          </a:endParaRPr>
        </a:p>
      </dgm:t>
    </dgm:pt>
    <dgm:pt modelId="{D4349E50-BD21-A443-89BC-5D8432335ADC}" type="par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1EB380D0-5C93-FD4B-AEC0-2890B45444BD}" type="sibTrans" cxnId="{99495A53-B1A4-E54A-BDED-90569695457E}">
      <dgm:prSet/>
      <dgm:spPr/>
      <dgm:t>
        <a:bodyPr/>
        <a:lstStyle/>
        <a:p>
          <a:endParaRPr lang="en-US" sz="1200" b="0" i="0">
            <a:latin typeface="Helvetica Neue Thin" charset="0"/>
            <a:ea typeface="Helvetica Neue Thin" charset="0"/>
            <a:cs typeface="Helvetica Neue Thin" charset="0"/>
          </a:endParaRPr>
        </a:p>
      </dgm:t>
    </dgm:pt>
    <dgm:pt modelId="{E3485FBA-95F2-054A-AEC2-229E0DA3A15E}">
      <dgm:prSet custT="1"/>
      <dgm:spPr>
        <a:solidFill>
          <a:srgbClr val="EB6D00"/>
        </a:solidFill>
      </dgm:spPr>
      <dgm:t>
        <a:bodyPr/>
        <a:lstStyle/>
        <a:p>
          <a:r>
            <a:rPr lang="en-US" sz="1200" b="0" i="0" dirty="0" smtClean="0">
              <a:latin typeface="Helvetica Neue Thin" charset="0"/>
              <a:ea typeface="Helvetica Neue Thin" charset="0"/>
              <a:cs typeface="Helvetica Neue Thin" charset="0"/>
            </a:rPr>
            <a:t>Ambari</a:t>
          </a:r>
          <a:endParaRPr lang="en-US" sz="1200" b="0" i="0" dirty="0">
            <a:latin typeface="Helvetica Neue Thin" charset="0"/>
            <a:ea typeface="Helvetica Neue Thin" charset="0"/>
            <a:cs typeface="Helvetica Neue Thin" charset="0"/>
          </a:endParaRPr>
        </a:p>
      </dgm:t>
    </dgm:pt>
    <dgm:pt modelId="{12E1C44F-7698-124D-8B08-8F60057B054D}" type="par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2AC2EF0C-2EE3-6640-A796-8994BF99D979}" type="sibTrans" cxnId="{D5A212E3-513B-5C4C-978D-179B0697EB27}">
      <dgm:prSet/>
      <dgm:spPr/>
      <dgm:t>
        <a:bodyPr/>
        <a:lstStyle/>
        <a:p>
          <a:endParaRPr lang="en-US" sz="1200" b="0" i="0">
            <a:latin typeface="Helvetica Neue Thin" charset="0"/>
            <a:ea typeface="Helvetica Neue Thin" charset="0"/>
            <a:cs typeface="Helvetica Neue Thin"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72BF7568-AE61-D44D-B503-BA1B66CA9BB1}" type="pres">
      <dgm:prSet presAssocID="{2F9F089B-6CDE-3644-A71A-A5129F9689C7}" presName="vertOne" presStyleCnt="0"/>
      <dgm:spPr/>
    </dgm:pt>
    <dgm:pt modelId="{FF7A9D10-FC52-814C-BC88-3CB8D987E563}" type="pres">
      <dgm:prSet presAssocID="{2F9F089B-6CDE-3644-A71A-A5129F9689C7}" presName="txOne" presStyleLbl="node0" presStyleIdx="0" presStyleCnt="6">
        <dgm:presLayoutVars>
          <dgm:chPref val="3"/>
        </dgm:presLayoutVars>
      </dgm:prSet>
      <dgm:spPr/>
      <dgm:t>
        <a:bodyPr/>
        <a:lstStyle/>
        <a:p>
          <a:endParaRPr lang="en-US"/>
        </a:p>
      </dgm:t>
    </dgm:pt>
    <dgm:pt modelId="{45E330AC-B148-B345-9481-A07AB4710ACD}" type="pres">
      <dgm:prSet presAssocID="{2F9F089B-6CDE-3644-A71A-A5129F9689C7}" presName="horzOne" presStyleCnt="0"/>
      <dgm:spPr/>
    </dgm:pt>
    <dgm:pt modelId="{18C604F1-C22A-4E48-89B9-E1871522632F}" type="pres">
      <dgm:prSet presAssocID="{33D93A36-9B60-EC44-9D4A-A7EB8321DFFD}" presName="sibSpaceOne" presStyleCnt="0"/>
      <dgm:spPr/>
    </dgm:pt>
    <dgm:pt modelId="{4F740ECE-EE3A-3C41-991C-EA6F60703047}" type="pres">
      <dgm:prSet presAssocID="{E3485FBA-95F2-054A-AEC2-229E0DA3A15E}" presName="vertOne" presStyleCnt="0"/>
      <dgm:spPr/>
    </dgm:pt>
    <dgm:pt modelId="{A97B6EE3-C913-9249-9BB0-F869F56702F9}" type="pres">
      <dgm:prSet presAssocID="{E3485FBA-95F2-054A-AEC2-229E0DA3A15E}" presName="txOne" presStyleLbl="node0" presStyleIdx="1" presStyleCnt="6">
        <dgm:presLayoutVars>
          <dgm:chPref val="3"/>
        </dgm:presLayoutVars>
      </dgm:prSet>
      <dgm:spPr/>
      <dgm:t>
        <a:bodyPr/>
        <a:lstStyle/>
        <a:p>
          <a:endParaRPr lang="en-US"/>
        </a:p>
      </dgm:t>
    </dgm:pt>
    <dgm:pt modelId="{576DEBAB-9492-7148-B255-B69B39AEEFD5}" type="pres">
      <dgm:prSet presAssocID="{E3485FBA-95F2-054A-AEC2-229E0DA3A15E}" presName="horzOne" presStyleCnt="0"/>
      <dgm:spPr/>
    </dgm:pt>
    <dgm:pt modelId="{3E3E1513-051B-D747-9578-5157F0BD2606}" type="pres">
      <dgm:prSet presAssocID="{2AC2EF0C-2EE3-6640-A796-8994BF99D979}" presName="sibSpaceOne" presStyleCnt="0"/>
      <dgm:spPr/>
    </dgm:pt>
    <dgm:pt modelId="{2349EFCC-D6EF-F14F-8F03-59B42D87120C}" type="pres">
      <dgm:prSet presAssocID="{FB0B53D9-195C-E342-956D-F618DF62762F}" presName="vertOne" presStyleCnt="0"/>
      <dgm:spPr/>
    </dgm:pt>
    <dgm:pt modelId="{027D962D-2EA5-464F-827D-5FE1D8B618A1}" type="pres">
      <dgm:prSet presAssocID="{FB0B53D9-195C-E342-956D-F618DF62762F}" presName="txOne" presStyleLbl="node0" presStyleIdx="2" presStyleCnt="6">
        <dgm:presLayoutVars>
          <dgm:chPref val="3"/>
        </dgm:presLayoutVars>
      </dgm:prSet>
      <dgm:spPr/>
      <dgm:t>
        <a:bodyPr/>
        <a:lstStyle/>
        <a:p>
          <a:endParaRPr lang="en-US"/>
        </a:p>
      </dgm:t>
    </dgm:pt>
    <dgm:pt modelId="{5D52124E-E701-A14E-978B-675C86D7D941}" type="pres">
      <dgm:prSet presAssocID="{FB0B53D9-195C-E342-956D-F618DF62762F}" presName="horzOne" presStyleCnt="0"/>
      <dgm:spPr/>
    </dgm:pt>
    <dgm:pt modelId="{93302620-31AB-4744-93E7-EAF6C7A77D6E}" type="pres">
      <dgm:prSet presAssocID="{A0F1DF69-79A4-5A4A-B4FE-EBD450354025}" presName="sibSpaceOne" presStyleCnt="0"/>
      <dgm:spPr/>
    </dgm:pt>
    <dgm:pt modelId="{79A592FD-AF06-9642-8007-09D471248D33}" type="pres">
      <dgm:prSet presAssocID="{027B2473-40A2-3B43-B43F-38DEED3C23F6}" presName="vertOne" presStyleCnt="0"/>
      <dgm:spPr/>
    </dgm:pt>
    <dgm:pt modelId="{D73A2411-5BF3-5048-8FDD-2AA7C8DF38E0}" type="pres">
      <dgm:prSet presAssocID="{027B2473-40A2-3B43-B43F-38DEED3C23F6}" presName="txOne" presStyleLbl="node0" presStyleIdx="3" presStyleCnt="6">
        <dgm:presLayoutVars>
          <dgm:chPref val="3"/>
        </dgm:presLayoutVars>
      </dgm:prSet>
      <dgm:spPr/>
      <dgm:t>
        <a:bodyPr/>
        <a:lstStyle/>
        <a:p>
          <a:endParaRPr lang="en-US"/>
        </a:p>
      </dgm:t>
    </dgm:pt>
    <dgm:pt modelId="{A5B95F44-F627-F14E-A903-667E3E942B16}" type="pres">
      <dgm:prSet presAssocID="{027B2473-40A2-3B43-B43F-38DEED3C23F6}" presName="horzOne" presStyleCnt="0"/>
      <dgm:spPr/>
    </dgm:pt>
    <dgm:pt modelId="{236AC1D0-3375-824D-8FDC-0F1798C4046E}" type="pres">
      <dgm:prSet presAssocID="{2091BAEF-6F31-D84F-97CC-2ECF5B035F26}" presName="sibSpaceOne" presStyleCnt="0"/>
      <dgm:spPr/>
    </dgm:pt>
    <dgm:pt modelId="{3E9A3401-CDF7-8E46-87B0-A71177856B62}" type="pres">
      <dgm:prSet presAssocID="{B791BFEE-811F-614D-9E2F-A9E3C1B09519}" presName="vertOne" presStyleCnt="0"/>
      <dgm:spPr/>
    </dgm:pt>
    <dgm:pt modelId="{71EFDBA4-FD34-C04D-A343-12FFAAA2219C}" type="pres">
      <dgm:prSet presAssocID="{B791BFEE-811F-614D-9E2F-A9E3C1B09519}" presName="txOne" presStyleLbl="node0" presStyleIdx="4" presStyleCnt="6">
        <dgm:presLayoutVars>
          <dgm:chPref val="3"/>
        </dgm:presLayoutVars>
      </dgm:prSet>
      <dgm:spPr/>
      <dgm:t>
        <a:bodyPr/>
        <a:lstStyle/>
        <a:p>
          <a:endParaRPr lang="en-US"/>
        </a:p>
      </dgm:t>
    </dgm:pt>
    <dgm:pt modelId="{500AD90E-E799-0C4E-910B-A97A68C40A9E}" type="pres">
      <dgm:prSet presAssocID="{B791BFEE-811F-614D-9E2F-A9E3C1B09519}" presName="horzOne" presStyleCnt="0"/>
      <dgm:spPr/>
    </dgm:pt>
    <dgm:pt modelId="{F70D16F5-85BA-F245-851A-4A66C7DF421D}" type="pres">
      <dgm:prSet presAssocID="{585B9CB7-8FB4-D94F-979B-A2F34A126751}" presName="sibSpaceOne" presStyleCnt="0"/>
      <dgm:spPr/>
    </dgm:pt>
    <dgm:pt modelId="{6B050408-9C32-724B-B50B-C759B83C7008}" type="pres">
      <dgm:prSet presAssocID="{D459B528-A2E8-9D40-B9F3-A1953FDF22D7}" presName="vertOne" presStyleCnt="0"/>
      <dgm:spPr/>
    </dgm:pt>
    <dgm:pt modelId="{C52D1841-36E2-9D4B-BC9F-A24074B8AAD3}" type="pres">
      <dgm:prSet presAssocID="{D459B528-A2E8-9D40-B9F3-A1953FDF22D7}" presName="txOne" presStyleLbl="node0" presStyleIdx="5" presStyleCnt="6">
        <dgm:presLayoutVars>
          <dgm:chPref val="3"/>
        </dgm:presLayoutVars>
      </dgm:prSet>
      <dgm:spPr/>
      <dgm:t>
        <a:bodyPr/>
        <a:lstStyle/>
        <a:p>
          <a:endParaRPr lang="en-US"/>
        </a:p>
      </dgm:t>
    </dgm:pt>
    <dgm:pt modelId="{F9E972B2-7824-3140-BDD6-E7CBDED0916A}" type="pres">
      <dgm:prSet presAssocID="{D459B528-A2E8-9D40-B9F3-A1953FDF22D7}" presName="horzOne" presStyleCnt="0"/>
      <dgm:spPr/>
    </dgm:pt>
  </dgm:ptLst>
  <dgm:cxnLst>
    <dgm:cxn modelId="{8BCB8405-7D47-49F8-8FDB-EAD192BB56CF}" type="presOf" srcId="{2F9F089B-6CDE-3644-A71A-A5129F9689C7}" destId="{FF7A9D10-FC52-814C-BC88-3CB8D987E563}" srcOrd="0" destOrd="0" presId="urn:microsoft.com/office/officeart/2005/8/layout/hierarchy4"/>
    <dgm:cxn modelId="{5038559C-A7BD-43E2-B30E-8504C0AEAE68}" type="presOf" srcId="{FC8E4F8A-67E5-2045-9D5E-3FC794334922}" destId="{07F2754C-E745-394E-B448-01F146E9A493}" srcOrd="0" destOrd="0" presId="urn:microsoft.com/office/officeart/2005/8/layout/hierarchy4"/>
    <dgm:cxn modelId="{99495A53-B1A4-E54A-BDED-90569695457E}" srcId="{FC8E4F8A-67E5-2045-9D5E-3FC794334922}" destId="{D459B528-A2E8-9D40-B9F3-A1953FDF22D7}" srcOrd="5" destOrd="0" parTransId="{D4349E50-BD21-A443-89BC-5D8432335ADC}" sibTransId="{1EB380D0-5C93-FD4B-AEC0-2890B45444BD}"/>
    <dgm:cxn modelId="{7B7936C9-EE18-6641-B47C-71C825F154DB}" srcId="{FC8E4F8A-67E5-2045-9D5E-3FC794334922}" destId="{FB0B53D9-195C-E342-956D-F618DF62762F}" srcOrd="2" destOrd="0" parTransId="{B5CA3A2B-F6F0-1D4F-9108-A123E5BB82B2}" sibTransId="{A0F1DF69-79A4-5A4A-B4FE-EBD450354025}"/>
    <dgm:cxn modelId="{C7C391B3-734B-44EC-A376-2F4CA36F28C8}" type="presOf" srcId="{027B2473-40A2-3B43-B43F-38DEED3C23F6}" destId="{D73A2411-5BF3-5048-8FDD-2AA7C8DF38E0}" srcOrd="0" destOrd="0" presId="urn:microsoft.com/office/officeart/2005/8/layout/hierarchy4"/>
    <dgm:cxn modelId="{EBE28BA0-EFBE-6E4F-B4BB-288E02289E0D}" srcId="{FC8E4F8A-67E5-2045-9D5E-3FC794334922}" destId="{B791BFEE-811F-614D-9E2F-A9E3C1B09519}" srcOrd="4" destOrd="0" parTransId="{61DC409F-BF87-F247-A67F-21096AD9CFD3}" sibTransId="{585B9CB7-8FB4-D94F-979B-A2F34A126751}"/>
    <dgm:cxn modelId="{6A24445A-006C-43DE-92B2-22E64FAD4296}" type="presOf" srcId="{E3485FBA-95F2-054A-AEC2-229E0DA3A15E}" destId="{A97B6EE3-C913-9249-9BB0-F869F56702F9}" srcOrd="0" destOrd="0" presId="urn:microsoft.com/office/officeart/2005/8/layout/hierarchy4"/>
    <dgm:cxn modelId="{6DF1BE37-0A4F-4677-9152-A027CF14BB77}" type="presOf" srcId="{B791BFEE-811F-614D-9E2F-A9E3C1B09519}" destId="{71EFDBA4-FD34-C04D-A343-12FFAAA2219C}" srcOrd="0" destOrd="0" presId="urn:microsoft.com/office/officeart/2005/8/layout/hierarchy4"/>
    <dgm:cxn modelId="{57BA4E04-EAA1-4482-9F9F-D7AEFCC48FA3}" type="presOf" srcId="{D459B528-A2E8-9D40-B9F3-A1953FDF22D7}" destId="{C52D1841-36E2-9D4B-BC9F-A24074B8AAD3}" srcOrd="0" destOrd="0" presId="urn:microsoft.com/office/officeart/2005/8/layout/hierarchy4"/>
    <dgm:cxn modelId="{7299BF99-1417-2849-849C-D1CD85A7418A}" srcId="{FC8E4F8A-67E5-2045-9D5E-3FC794334922}" destId="{2F9F089B-6CDE-3644-A71A-A5129F9689C7}" srcOrd="0" destOrd="0" parTransId="{FC7148B5-AEE4-E04A-B4FB-72A85EF5D940}" sibTransId="{33D93A36-9B60-EC44-9D4A-A7EB8321DFFD}"/>
    <dgm:cxn modelId="{D5A212E3-513B-5C4C-978D-179B0697EB27}" srcId="{FC8E4F8A-67E5-2045-9D5E-3FC794334922}" destId="{E3485FBA-95F2-054A-AEC2-229E0DA3A15E}" srcOrd="1" destOrd="0" parTransId="{12E1C44F-7698-124D-8B08-8F60057B054D}" sibTransId="{2AC2EF0C-2EE3-6640-A796-8994BF99D979}"/>
    <dgm:cxn modelId="{E32A4819-DA2E-2F47-A2F5-682D672333AE}" srcId="{FC8E4F8A-67E5-2045-9D5E-3FC794334922}" destId="{027B2473-40A2-3B43-B43F-38DEED3C23F6}" srcOrd="3" destOrd="0" parTransId="{BA77F311-3B04-B247-B68A-70B04552A3DE}" sibTransId="{2091BAEF-6F31-D84F-97CC-2ECF5B035F26}"/>
    <dgm:cxn modelId="{4F1E6921-A994-4D7B-B290-3DA8CC1282AC}" type="presOf" srcId="{FB0B53D9-195C-E342-956D-F618DF62762F}" destId="{027D962D-2EA5-464F-827D-5FE1D8B618A1}" srcOrd="0" destOrd="0" presId="urn:microsoft.com/office/officeart/2005/8/layout/hierarchy4"/>
    <dgm:cxn modelId="{8B860685-81FF-4F95-B6C3-18720559EB43}" type="presParOf" srcId="{07F2754C-E745-394E-B448-01F146E9A493}" destId="{72BF7568-AE61-D44D-B503-BA1B66CA9BB1}" srcOrd="0" destOrd="0" presId="urn:microsoft.com/office/officeart/2005/8/layout/hierarchy4"/>
    <dgm:cxn modelId="{59D13AB7-0A8B-40A3-825C-8F1AFFDB6892}" type="presParOf" srcId="{72BF7568-AE61-D44D-B503-BA1B66CA9BB1}" destId="{FF7A9D10-FC52-814C-BC88-3CB8D987E563}" srcOrd="0" destOrd="0" presId="urn:microsoft.com/office/officeart/2005/8/layout/hierarchy4"/>
    <dgm:cxn modelId="{06161449-BC24-4F7A-8C5F-7C08BD9F7180}" type="presParOf" srcId="{72BF7568-AE61-D44D-B503-BA1B66CA9BB1}" destId="{45E330AC-B148-B345-9481-A07AB4710ACD}" srcOrd="1" destOrd="0" presId="urn:microsoft.com/office/officeart/2005/8/layout/hierarchy4"/>
    <dgm:cxn modelId="{A01EF8E3-4B6E-4DF8-93D0-B563C7C18CDB}" type="presParOf" srcId="{07F2754C-E745-394E-B448-01F146E9A493}" destId="{18C604F1-C22A-4E48-89B9-E1871522632F}" srcOrd="1" destOrd="0" presId="urn:microsoft.com/office/officeart/2005/8/layout/hierarchy4"/>
    <dgm:cxn modelId="{9C9318C4-24AA-43CE-A41D-41787711A3AE}" type="presParOf" srcId="{07F2754C-E745-394E-B448-01F146E9A493}" destId="{4F740ECE-EE3A-3C41-991C-EA6F60703047}" srcOrd="2" destOrd="0" presId="urn:microsoft.com/office/officeart/2005/8/layout/hierarchy4"/>
    <dgm:cxn modelId="{1827C493-490E-4ED0-8CC3-0B445C91A679}" type="presParOf" srcId="{4F740ECE-EE3A-3C41-991C-EA6F60703047}" destId="{A97B6EE3-C913-9249-9BB0-F869F56702F9}" srcOrd="0" destOrd="0" presId="urn:microsoft.com/office/officeart/2005/8/layout/hierarchy4"/>
    <dgm:cxn modelId="{8EF07C6E-2B76-48FF-9A3B-2CDBE8877690}" type="presParOf" srcId="{4F740ECE-EE3A-3C41-991C-EA6F60703047}" destId="{576DEBAB-9492-7148-B255-B69B39AEEFD5}" srcOrd="1" destOrd="0" presId="urn:microsoft.com/office/officeart/2005/8/layout/hierarchy4"/>
    <dgm:cxn modelId="{38501D3C-0E92-4C62-B4E2-27836149599A}" type="presParOf" srcId="{07F2754C-E745-394E-B448-01F146E9A493}" destId="{3E3E1513-051B-D747-9578-5157F0BD2606}" srcOrd="3" destOrd="0" presId="urn:microsoft.com/office/officeart/2005/8/layout/hierarchy4"/>
    <dgm:cxn modelId="{F4B06AA4-5D15-4BC6-BBE5-94B21E35D395}" type="presParOf" srcId="{07F2754C-E745-394E-B448-01F146E9A493}" destId="{2349EFCC-D6EF-F14F-8F03-59B42D87120C}" srcOrd="4" destOrd="0" presId="urn:microsoft.com/office/officeart/2005/8/layout/hierarchy4"/>
    <dgm:cxn modelId="{3F01A059-BA16-4F4D-97A9-300871BAA8E3}" type="presParOf" srcId="{2349EFCC-D6EF-F14F-8F03-59B42D87120C}" destId="{027D962D-2EA5-464F-827D-5FE1D8B618A1}" srcOrd="0" destOrd="0" presId="urn:microsoft.com/office/officeart/2005/8/layout/hierarchy4"/>
    <dgm:cxn modelId="{6D4135E7-A983-448B-99EB-49C37EAD19B5}" type="presParOf" srcId="{2349EFCC-D6EF-F14F-8F03-59B42D87120C}" destId="{5D52124E-E701-A14E-978B-675C86D7D941}" srcOrd="1" destOrd="0" presId="urn:microsoft.com/office/officeart/2005/8/layout/hierarchy4"/>
    <dgm:cxn modelId="{E5A5D20A-E6B0-418F-91AD-A530E1CAB92C}" type="presParOf" srcId="{07F2754C-E745-394E-B448-01F146E9A493}" destId="{93302620-31AB-4744-93E7-EAF6C7A77D6E}" srcOrd="5" destOrd="0" presId="urn:microsoft.com/office/officeart/2005/8/layout/hierarchy4"/>
    <dgm:cxn modelId="{98C0BB77-9931-4A87-B578-99873559A956}" type="presParOf" srcId="{07F2754C-E745-394E-B448-01F146E9A493}" destId="{79A592FD-AF06-9642-8007-09D471248D33}" srcOrd="6" destOrd="0" presId="urn:microsoft.com/office/officeart/2005/8/layout/hierarchy4"/>
    <dgm:cxn modelId="{196BCD53-ED74-4FFF-9CDC-CADCE0974F00}" type="presParOf" srcId="{79A592FD-AF06-9642-8007-09D471248D33}" destId="{D73A2411-5BF3-5048-8FDD-2AA7C8DF38E0}" srcOrd="0" destOrd="0" presId="urn:microsoft.com/office/officeart/2005/8/layout/hierarchy4"/>
    <dgm:cxn modelId="{8A64EBF7-BD97-4935-8ED3-1CA7FD2D90D1}" type="presParOf" srcId="{79A592FD-AF06-9642-8007-09D471248D33}" destId="{A5B95F44-F627-F14E-A903-667E3E942B16}" srcOrd="1" destOrd="0" presId="urn:microsoft.com/office/officeart/2005/8/layout/hierarchy4"/>
    <dgm:cxn modelId="{8773390B-6680-4495-A610-F07726467067}" type="presParOf" srcId="{07F2754C-E745-394E-B448-01F146E9A493}" destId="{236AC1D0-3375-824D-8FDC-0F1798C4046E}" srcOrd="7" destOrd="0" presId="urn:microsoft.com/office/officeart/2005/8/layout/hierarchy4"/>
    <dgm:cxn modelId="{BF73C82E-4AD4-4E22-9099-BC2EC8BDBB45}" type="presParOf" srcId="{07F2754C-E745-394E-B448-01F146E9A493}" destId="{3E9A3401-CDF7-8E46-87B0-A71177856B62}" srcOrd="8" destOrd="0" presId="urn:microsoft.com/office/officeart/2005/8/layout/hierarchy4"/>
    <dgm:cxn modelId="{ADB52F7B-3123-4D30-8960-B0D488AFFCCE}" type="presParOf" srcId="{3E9A3401-CDF7-8E46-87B0-A71177856B62}" destId="{71EFDBA4-FD34-C04D-A343-12FFAAA2219C}" srcOrd="0" destOrd="0" presId="urn:microsoft.com/office/officeart/2005/8/layout/hierarchy4"/>
    <dgm:cxn modelId="{349B24D5-F1E4-4927-8CDB-6C37B8F0352D}" type="presParOf" srcId="{3E9A3401-CDF7-8E46-87B0-A71177856B62}" destId="{500AD90E-E799-0C4E-910B-A97A68C40A9E}" srcOrd="1" destOrd="0" presId="urn:microsoft.com/office/officeart/2005/8/layout/hierarchy4"/>
    <dgm:cxn modelId="{3C86CE31-B513-4A19-AC5C-615B67473EE0}" type="presParOf" srcId="{07F2754C-E745-394E-B448-01F146E9A493}" destId="{F70D16F5-85BA-F245-851A-4A66C7DF421D}" srcOrd="9" destOrd="0" presId="urn:microsoft.com/office/officeart/2005/8/layout/hierarchy4"/>
    <dgm:cxn modelId="{7DD77273-658B-42C8-A6F5-DB13AF1855F1}" type="presParOf" srcId="{07F2754C-E745-394E-B448-01F146E9A493}" destId="{6B050408-9C32-724B-B50B-C759B83C7008}" srcOrd="10" destOrd="0" presId="urn:microsoft.com/office/officeart/2005/8/layout/hierarchy4"/>
    <dgm:cxn modelId="{C7A30458-572B-4180-B58F-C039856922CC}" type="presParOf" srcId="{6B050408-9C32-724B-B50B-C759B83C7008}" destId="{C52D1841-36E2-9D4B-BC9F-A24074B8AAD3}" srcOrd="0" destOrd="0" presId="urn:microsoft.com/office/officeart/2005/8/layout/hierarchy4"/>
    <dgm:cxn modelId="{E3D9F2BD-8DCE-4F9D-9370-D0980BEF96FA}" type="presParOf" srcId="{6B050408-9C32-724B-B50B-C759B83C7008}" destId="{F9E972B2-7824-3140-BDD6-E7CBDED0916A}" srcOrd="1" destOrd="0" presId="urn:microsoft.com/office/officeart/2005/8/layout/hierarchy4"/>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3_4" csCatId="accent3" phldr="1"/>
      <dgm:spPr/>
      <dgm:t>
        <a:bodyPr/>
        <a:lstStyle/>
        <a:p>
          <a:endParaRPr lang="en-US"/>
        </a:p>
      </dgm:t>
    </dgm:pt>
    <dgm:pt modelId="{B063000F-8ED0-1244-BEF0-D065EEBFA3F8}">
      <dgm:prSet phldrT="[Text]" custT="1"/>
      <dgm:spPr>
        <a:solidFill>
          <a:srgbClr val="1DA083"/>
        </a:solidFill>
      </dgm:spPr>
      <dgm:t>
        <a:bodyPr/>
        <a:lstStyle/>
        <a:p>
          <a:r>
            <a:rPr lang="en-US" sz="1600" b="0" i="0" dirty="0" smtClean="0">
              <a:latin typeface="Helvetica Neue Light" charset="0"/>
              <a:ea typeface="Helvetica Neue Light" charset="0"/>
              <a:cs typeface="Helvetica Neue Light" charset="0"/>
            </a:rPr>
            <a:t>Applications</a:t>
          </a:r>
          <a:endParaRPr lang="en-US" sz="1600" b="0" i="0" dirty="0">
            <a:latin typeface="Helvetica Neue Light" charset="0"/>
            <a:ea typeface="Helvetica Neue Light" charset="0"/>
            <a:cs typeface="Helvetica Neue Light" charset="0"/>
          </a:endParaRPr>
        </a:p>
      </dgm:t>
    </dgm:pt>
    <dgm:pt modelId="{64029229-BA5C-1F4E-A750-DCED7197A61B}" type="parTrans" cxnId="{8080992C-EA2A-4E48-8CAC-096095D96E4D}">
      <dgm:prSet/>
      <dgm:spPr/>
      <dgm:t>
        <a:bodyPr/>
        <a:lstStyle/>
        <a:p>
          <a:endParaRPr lang="en-US" sz="1200" b="0" i="0">
            <a:latin typeface="Helvetica Neue Light" charset="0"/>
            <a:ea typeface="Helvetica Neue Light" charset="0"/>
            <a:cs typeface="Helvetica Neue Light" charset="0"/>
          </a:endParaRPr>
        </a:p>
      </dgm:t>
    </dgm:pt>
    <dgm:pt modelId="{E7E94792-F3E4-F043-8B89-B0E1863467F2}" type="sibTrans" cxnId="{8080992C-EA2A-4E48-8CAC-096095D96E4D}">
      <dgm:prSet/>
      <dgm:spPr/>
      <dgm:t>
        <a:bodyPr/>
        <a:lstStyle/>
        <a:p>
          <a:endParaRPr lang="en-US" sz="1200" b="0" i="0">
            <a:latin typeface="Helvetica Neue Light" charset="0"/>
            <a:ea typeface="Helvetica Neue Light" charset="0"/>
            <a:cs typeface="Helvetica Neue Light" charset="0"/>
          </a:endParaRPr>
        </a:p>
      </dgm:t>
    </dgm:pt>
    <dgm:pt modelId="{604C513F-92A3-F341-9F21-79D47F7B9521}">
      <dgm:prSet phldrT="[Text]" custT="1"/>
      <dgm:spPr>
        <a:solidFill>
          <a:srgbClr val="1DA083"/>
        </a:solidFill>
      </dgm:spPr>
      <dgm:t>
        <a:bodyPr/>
        <a:lstStyle/>
        <a:p>
          <a:r>
            <a:rPr lang="en-US" sz="1600" b="0" i="0" dirty="0" smtClean="0">
              <a:latin typeface="Helvetica Neue Light" charset="0"/>
              <a:ea typeface="Helvetica Neue Light" charset="0"/>
              <a:cs typeface="Helvetica Neue Light" charset="0"/>
            </a:rPr>
            <a:t>Data</a:t>
          </a:r>
          <a:endParaRPr lang="en-US" sz="1600" b="0" i="0" dirty="0">
            <a:latin typeface="Helvetica Neue Light" charset="0"/>
            <a:ea typeface="Helvetica Neue Light" charset="0"/>
            <a:cs typeface="Helvetica Neue Light" charset="0"/>
          </a:endParaRPr>
        </a:p>
      </dgm:t>
    </dgm:pt>
    <dgm:pt modelId="{4CE0BCD6-76DB-464D-A1A3-2FE08B2E7523}" type="parTrans" cxnId="{80E5790C-9BA2-FF43-B62C-5F610AD920AF}">
      <dgm:prSet/>
      <dgm:spPr/>
      <dgm:t>
        <a:bodyPr/>
        <a:lstStyle/>
        <a:p>
          <a:endParaRPr lang="en-US" sz="1200" b="0" i="0">
            <a:latin typeface="Helvetica Neue Light" charset="0"/>
            <a:ea typeface="Helvetica Neue Light" charset="0"/>
            <a:cs typeface="Helvetica Neue Light" charset="0"/>
          </a:endParaRPr>
        </a:p>
      </dgm:t>
    </dgm:pt>
    <dgm:pt modelId="{494E7BE3-8D72-974F-A5BF-71494C00E27D}" type="sibTrans" cxnId="{80E5790C-9BA2-FF43-B62C-5F610AD920AF}">
      <dgm:prSet/>
      <dgm:spPr/>
      <dgm:t>
        <a:bodyPr/>
        <a:lstStyle/>
        <a:p>
          <a:endParaRPr lang="en-US" sz="1200" b="0" i="0">
            <a:latin typeface="Helvetica Neue Light" charset="0"/>
            <a:ea typeface="Helvetica Neue Light" charset="0"/>
            <a:cs typeface="Helvetica Neue Light" charset="0"/>
          </a:endParaRPr>
        </a:p>
      </dgm:t>
    </dgm:pt>
    <dgm:pt modelId="{ECA00059-E3B6-0C44-8CDD-6A171E583F47}">
      <dgm:prSet phldrT="[Text]" custT="1"/>
      <dgm:spPr>
        <a:solidFill>
          <a:srgbClr val="1DA083"/>
        </a:solidFill>
      </dgm:spPr>
      <dgm:t>
        <a:bodyPr/>
        <a:lstStyle/>
        <a:p>
          <a:r>
            <a:rPr lang="en-US" sz="1600" b="0" i="0" dirty="0" smtClean="0">
              <a:latin typeface="Helvetica Neue Light" charset="0"/>
              <a:ea typeface="Helvetica Neue Light" charset="0"/>
              <a:cs typeface="Helvetica Neue Light" charset="0"/>
            </a:rPr>
            <a:t>Hadoop Operations</a:t>
          </a:r>
          <a:endParaRPr lang="en-US" sz="1600" b="0" i="0" dirty="0">
            <a:latin typeface="Helvetica Neue Light" charset="0"/>
            <a:ea typeface="Helvetica Neue Light" charset="0"/>
            <a:cs typeface="Helvetica Neue Light" charset="0"/>
          </a:endParaRPr>
        </a:p>
      </dgm:t>
    </dgm:pt>
    <dgm:pt modelId="{7FC390B1-0F32-504D-B9AE-036EC476C99D}" type="parTrans" cxnId="{1C89C2E8-306F-8643-81E3-A36151A5C900}">
      <dgm:prSet/>
      <dgm:spPr/>
      <dgm:t>
        <a:bodyPr/>
        <a:lstStyle/>
        <a:p>
          <a:endParaRPr lang="en-US" sz="1200" b="0" i="0">
            <a:latin typeface="Helvetica Neue Light" charset="0"/>
            <a:ea typeface="Helvetica Neue Light" charset="0"/>
            <a:cs typeface="Helvetica Neue Light" charset="0"/>
          </a:endParaRPr>
        </a:p>
      </dgm:t>
    </dgm:pt>
    <dgm:pt modelId="{44F84230-07EE-924A-A5EE-046A235C0502}" type="sibTrans" cxnId="{1C89C2E8-306F-8643-81E3-A36151A5C900}">
      <dgm:prSet/>
      <dgm:spPr/>
      <dgm:t>
        <a:bodyPr/>
        <a:lstStyle/>
        <a:p>
          <a:endParaRPr lang="en-US" sz="1200" b="0" i="0">
            <a:latin typeface="Helvetica Neue Light" charset="0"/>
            <a:ea typeface="Helvetica Neue Light" charset="0"/>
            <a:cs typeface="Helvetica Neue Light" charset="0"/>
          </a:endParaRPr>
        </a:p>
      </dgm:t>
    </dgm:pt>
    <dgm:pt modelId="{49C9875A-A408-F24E-A3C0-64BD607012DE}">
      <dgm:prSet phldrT="[Text]" custT="1"/>
      <dgm:spPr>
        <a:solidFill>
          <a:srgbClr val="1DA083"/>
        </a:solidFill>
      </dgm:spPr>
      <dgm:t>
        <a:bodyPr/>
        <a:lstStyle/>
        <a:p>
          <a:r>
            <a:rPr lang="en-US" sz="1600" b="0" i="0" dirty="0" smtClean="0">
              <a:latin typeface="Helvetica Neue Light" charset="0"/>
              <a:ea typeface="Helvetica Neue Light" charset="0"/>
              <a:cs typeface="Helvetica Neue Light" charset="0"/>
            </a:rPr>
            <a:t>BigInsights Operations</a:t>
          </a:r>
          <a:endParaRPr lang="en-US" sz="1600" b="0" i="0" dirty="0">
            <a:latin typeface="Helvetica Neue Light" charset="0"/>
            <a:ea typeface="Helvetica Neue Light" charset="0"/>
            <a:cs typeface="Helvetica Neue Light" charset="0"/>
          </a:endParaRPr>
        </a:p>
      </dgm:t>
    </dgm:pt>
    <dgm:pt modelId="{901D5B74-DF70-A547-A1C4-9D5B4F7856FD}" type="parTrans" cxnId="{9E5B56BC-4C29-9745-BF70-4C18042F351B}">
      <dgm:prSet/>
      <dgm:spPr/>
      <dgm:t>
        <a:bodyPr/>
        <a:lstStyle/>
        <a:p>
          <a:endParaRPr lang="en-US" sz="1200" b="0" i="0">
            <a:latin typeface="Helvetica Neue Light" charset="0"/>
            <a:ea typeface="Helvetica Neue Light" charset="0"/>
            <a:cs typeface="Helvetica Neue Light" charset="0"/>
          </a:endParaRPr>
        </a:p>
      </dgm:t>
    </dgm:pt>
    <dgm:pt modelId="{9BE68709-59B5-414F-B19F-E7D84A8F2FB6}" type="sibTrans" cxnId="{9E5B56BC-4C29-9745-BF70-4C18042F351B}">
      <dgm:prSet/>
      <dgm:spPr/>
      <dgm:t>
        <a:bodyPr/>
        <a:lstStyle/>
        <a:p>
          <a:endParaRPr lang="en-US" sz="1200"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11694596-F279-7F47-836A-7566B86C925B}" type="pres">
      <dgm:prSet presAssocID="{B063000F-8ED0-1244-BEF0-D065EEBFA3F8}" presName="vertOne" presStyleCnt="0"/>
      <dgm:spPr/>
    </dgm:pt>
    <dgm:pt modelId="{18B06A81-8723-BD49-BBFA-BA859B147D54}" type="pres">
      <dgm:prSet presAssocID="{B063000F-8ED0-1244-BEF0-D065EEBFA3F8}" presName="txOne" presStyleLbl="node0" presStyleIdx="0" presStyleCnt="4">
        <dgm:presLayoutVars>
          <dgm:chPref val="3"/>
        </dgm:presLayoutVars>
      </dgm:prSet>
      <dgm:spPr/>
      <dgm:t>
        <a:bodyPr/>
        <a:lstStyle/>
        <a:p>
          <a:endParaRPr lang="en-US"/>
        </a:p>
      </dgm:t>
    </dgm:pt>
    <dgm:pt modelId="{E5268E16-911D-E049-8AAC-C1524F2913C7}" type="pres">
      <dgm:prSet presAssocID="{B063000F-8ED0-1244-BEF0-D065EEBFA3F8}" presName="horzOne" presStyleCnt="0"/>
      <dgm:spPr/>
    </dgm:pt>
    <dgm:pt modelId="{41660D96-CDA6-A143-BB73-4F5ECF205187}" type="pres">
      <dgm:prSet presAssocID="{E7E94792-F3E4-F043-8B89-B0E1863467F2}" presName="sibSpaceOne" presStyleCnt="0"/>
      <dgm:spPr/>
    </dgm:pt>
    <dgm:pt modelId="{287F7C70-8054-444C-96DF-2AFF43995B21}" type="pres">
      <dgm:prSet presAssocID="{604C513F-92A3-F341-9F21-79D47F7B9521}" presName="vertOne" presStyleCnt="0"/>
      <dgm:spPr/>
    </dgm:pt>
    <dgm:pt modelId="{C2742AA5-ED32-A945-812D-DAC19877B82F}" type="pres">
      <dgm:prSet presAssocID="{604C513F-92A3-F341-9F21-79D47F7B9521}" presName="txOne" presStyleLbl="node0" presStyleIdx="1" presStyleCnt="4">
        <dgm:presLayoutVars>
          <dgm:chPref val="3"/>
        </dgm:presLayoutVars>
      </dgm:prSet>
      <dgm:spPr/>
      <dgm:t>
        <a:bodyPr/>
        <a:lstStyle/>
        <a:p>
          <a:endParaRPr lang="en-US"/>
        </a:p>
      </dgm:t>
    </dgm:pt>
    <dgm:pt modelId="{A3996D1B-BCAA-7C48-A4E2-26D47443CDFF}" type="pres">
      <dgm:prSet presAssocID="{604C513F-92A3-F341-9F21-79D47F7B9521}" presName="horzOne" presStyleCnt="0"/>
      <dgm:spPr/>
    </dgm:pt>
    <dgm:pt modelId="{8D301AC1-DC1F-D34F-9E9E-D8FEDEFE625D}" type="pres">
      <dgm:prSet presAssocID="{494E7BE3-8D72-974F-A5BF-71494C00E27D}" presName="sibSpaceOne" presStyleCnt="0"/>
      <dgm:spPr/>
    </dgm:pt>
    <dgm:pt modelId="{205EE03D-7DC5-8D4A-90B7-002A0B47B721}" type="pres">
      <dgm:prSet presAssocID="{ECA00059-E3B6-0C44-8CDD-6A171E583F47}" presName="vertOne" presStyleCnt="0"/>
      <dgm:spPr/>
    </dgm:pt>
    <dgm:pt modelId="{98F4EA79-0094-8945-BBE5-6F5AAC086778}" type="pres">
      <dgm:prSet presAssocID="{ECA00059-E3B6-0C44-8CDD-6A171E583F47}" presName="txOne" presStyleLbl="node0" presStyleIdx="2" presStyleCnt="4" custLinFactNeighborY="2745">
        <dgm:presLayoutVars>
          <dgm:chPref val="3"/>
        </dgm:presLayoutVars>
      </dgm:prSet>
      <dgm:spPr/>
      <dgm:t>
        <a:bodyPr/>
        <a:lstStyle/>
        <a:p>
          <a:endParaRPr lang="en-US"/>
        </a:p>
      </dgm:t>
    </dgm:pt>
    <dgm:pt modelId="{86C5229B-A11D-B640-B674-CD20D5546FFB}" type="pres">
      <dgm:prSet presAssocID="{ECA00059-E3B6-0C44-8CDD-6A171E583F47}" presName="horzOne" presStyleCnt="0"/>
      <dgm:spPr/>
    </dgm:pt>
    <dgm:pt modelId="{CA86195A-F716-7945-98C7-AAD1637C443F}" type="pres">
      <dgm:prSet presAssocID="{44F84230-07EE-924A-A5EE-046A235C0502}" presName="sibSpaceOne" presStyleCnt="0"/>
      <dgm:spPr/>
    </dgm:pt>
    <dgm:pt modelId="{B99905A1-C96F-044D-8225-400B722465E9}" type="pres">
      <dgm:prSet presAssocID="{49C9875A-A408-F24E-A3C0-64BD607012DE}" presName="vertOne" presStyleCnt="0"/>
      <dgm:spPr/>
    </dgm:pt>
    <dgm:pt modelId="{A85AE542-7156-DD4C-BB6B-F9B719BC4E2C}" type="pres">
      <dgm:prSet presAssocID="{49C9875A-A408-F24E-A3C0-64BD607012DE}" presName="txOne" presStyleLbl="node0" presStyleIdx="3" presStyleCnt="4">
        <dgm:presLayoutVars>
          <dgm:chPref val="3"/>
        </dgm:presLayoutVars>
      </dgm:prSet>
      <dgm:spPr/>
      <dgm:t>
        <a:bodyPr/>
        <a:lstStyle/>
        <a:p>
          <a:endParaRPr lang="en-US"/>
        </a:p>
      </dgm:t>
    </dgm:pt>
    <dgm:pt modelId="{CBD09790-7811-2447-A3CE-6A68718CBC71}" type="pres">
      <dgm:prSet presAssocID="{49C9875A-A408-F24E-A3C0-64BD607012DE}" presName="horzOne" presStyleCnt="0"/>
      <dgm:spPr/>
    </dgm:pt>
  </dgm:ptLst>
  <dgm:cxnLst>
    <dgm:cxn modelId="{80E5790C-9BA2-FF43-B62C-5F610AD920AF}" srcId="{FC8E4F8A-67E5-2045-9D5E-3FC794334922}" destId="{604C513F-92A3-F341-9F21-79D47F7B9521}" srcOrd="1" destOrd="0" parTransId="{4CE0BCD6-76DB-464D-A1A3-2FE08B2E7523}" sibTransId="{494E7BE3-8D72-974F-A5BF-71494C00E27D}"/>
    <dgm:cxn modelId="{68FA6D3D-27B7-4F6A-9780-43B82BAEEA82}" type="presOf" srcId="{604C513F-92A3-F341-9F21-79D47F7B9521}" destId="{C2742AA5-ED32-A945-812D-DAC19877B82F}" srcOrd="0" destOrd="0" presId="urn:microsoft.com/office/officeart/2005/8/layout/hierarchy4"/>
    <dgm:cxn modelId="{9DA61A1B-73D5-4D82-A6D1-CB4BCC42033C}" type="presOf" srcId="{ECA00059-E3B6-0C44-8CDD-6A171E583F47}" destId="{98F4EA79-0094-8945-BBE5-6F5AAC086778}" srcOrd="0" destOrd="0" presId="urn:microsoft.com/office/officeart/2005/8/layout/hierarchy4"/>
    <dgm:cxn modelId="{FA2147CF-B497-4B5A-966E-19CD0398ACDE}" type="presOf" srcId="{B063000F-8ED0-1244-BEF0-D065EEBFA3F8}" destId="{18B06A81-8723-BD49-BBFA-BA859B147D54}" srcOrd="0" destOrd="0" presId="urn:microsoft.com/office/officeart/2005/8/layout/hierarchy4"/>
    <dgm:cxn modelId="{1C89C2E8-306F-8643-81E3-A36151A5C900}" srcId="{FC8E4F8A-67E5-2045-9D5E-3FC794334922}" destId="{ECA00059-E3B6-0C44-8CDD-6A171E583F47}" srcOrd="2" destOrd="0" parTransId="{7FC390B1-0F32-504D-B9AE-036EC476C99D}" sibTransId="{44F84230-07EE-924A-A5EE-046A235C0502}"/>
    <dgm:cxn modelId="{A038522A-B258-4521-AF1C-4EA4ED3DEB16}" type="presOf" srcId="{FC8E4F8A-67E5-2045-9D5E-3FC794334922}" destId="{07F2754C-E745-394E-B448-01F146E9A493}" srcOrd="0" destOrd="0" presId="urn:microsoft.com/office/officeart/2005/8/layout/hierarchy4"/>
    <dgm:cxn modelId="{9E5B56BC-4C29-9745-BF70-4C18042F351B}" srcId="{FC8E4F8A-67E5-2045-9D5E-3FC794334922}" destId="{49C9875A-A408-F24E-A3C0-64BD607012DE}" srcOrd="3" destOrd="0" parTransId="{901D5B74-DF70-A547-A1C4-9D5B4F7856FD}" sibTransId="{9BE68709-59B5-414F-B19F-E7D84A8F2FB6}"/>
    <dgm:cxn modelId="{9F518271-DEB5-4D0A-AEE1-DFD027AB1A08}" type="presOf" srcId="{49C9875A-A408-F24E-A3C0-64BD607012DE}" destId="{A85AE542-7156-DD4C-BB6B-F9B719BC4E2C}" srcOrd="0" destOrd="0" presId="urn:microsoft.com/office/officeart/2005/8/layout/hierarchy4"/>
    <dgm:cxn modelId="{8080992C-EA2A-4E48-8CAC-096095D96E4D}" srcId="{FC8E4F8A-67E5-2045-9D5E-3FC794334922}" destId="{B063000F-8ED0-1244-BEF0-D065EEBFA3F8}" srcOrd="0" destOrd="0" parTransId="{64029229-BA5C-1F4E-A750-DCED7197A61B}" sibTransId="{E7E94792-F3E4-F043-8B89-B0E1863467F2}"/>
    <dgm:cxn modelId="{18325BF4-0C64-4880-896E-252D8451786C}" type="presParOf" srcId="{07F2754C-E745-394E-B448-01F146E9A493}" destId="{11694596-F279-7F47-836A-7566B86C925B}" srcOrd="0" destOrd="0" presId="urn:microsoft.com/office/officeart/2005/8/layout/hierarchy4"/>
    <dgm:cxn modelId="{7E36CE4B-C7CC-441C-A377-E28691595C73}" type="presParOf" srcId="{11694596-F279-7F47-836A-7566B86C925B}" destId="{18B06A81-8723-BD49-BBFA-BA859B147D54}" srcOrd="0" destOrd="0" presId="urn:microsoft.com/office/officeart/2005/8/layout/hierarchy4"/>
    <dgm:cxn modelId="{608BB212-6F08-4423-9A56-D07162F352C6}" type="presParOf" srcId="{11694596-F279-7F47-836A-7566B86C925B}" destId="{E5268E16-911D-E049-8AAC-C1524F2913C7}" srcOrd="1" destOrd="0" presId="urn:microsoft.com/office/officeart/2005/8/layout/hierarchy4"/>
    <dgm:cxn modelId="{C66A87DE-DF74-4D7A-9DA7-8121918D219D}" type="presParOf" srcId="{07F2754C-E745-394E-B448-01F146E9A493}" destId="{41660D96-CDA6-A143-BB73-4F5ECF205187}" srcOrd="1" destOrd="0" presId="urn:microsoft.com/office/officeart/2005/8/layout/hierarchy4"/>
    <dgm:cxn modelId="{0C2AC404-C1B2-4BFD-B5A7-145EEEDA238F}" type="presParOf" srcId="{07F2754C-E745-394E-B448-01F146E9A493}" destId="{287F7C70-8054-444C-96DF-2AFF43995B21}" srcOrd="2" destOrd="0" presId="urn:microsoft.com/office/officeart/2005/8/layout/hierarchy4"/>
    <dgm:cxn modelId="{E984C289-436A-4CB3-A4DE-62E0D2109FB2}" type="presParOf" srcId="{287F7C70-8054-444C-96DF-2AFF43995B21}" destId="{C2742AA5-ED32-A945-812D-DAC19877B82F}" srcOrd="0" destOrd="0" presId="urn:microsoft.com/office/officeart/2005/8/layout/hierarchy4"/>
    <dgm:cxn modelId="{53875996-F059-4AB0-A200-049B6CF6D4EF}" type="presParOf" srcId="{287F7C70-8054-444C-96DF-2AFF43995B21}" destId="{A3996D1B-BCAA-7C48-A4E2-26D47443CDFF}" srcOrd="1" destOrd="0" presId="urn:microsoft.com/office/officeart/2005/8/layout/hierarchy4"/>
    <dgm:cxn modelId="{D318887E-EBCE-4178-9D48-5E87D0D9EB5A}" type="presParOf" srcId="{07F2754C-E745-394E-B448-01F146E9A493}" destId="{8D301AC1-DC1F-D34F-9E9E-D8FEDEFE625D}" srcOrd="3" destOrd="0" presId="urn:microsoft.com/office/officeart/2005/8/layout/hierarchy4"/>
    <dgm:cxn modelId="{4FFFF5F5-D601-4B40-A3A8-E20B6371BBD8}" type="presParOf" srcId="{07F2754C-E745-394E-B448-01F146E9A493}" destId="{205EE03D-7DC5-8D4A-90B7-002A0B47B721}" srcOrd="4" destOrd="0" presId="urn:microsoft.com/office/officeart/2005/8/layout/hierarchy4"/>
    <dgm:cxn modelId="{95BEAD65-B6F7-4C38-A227-5A3B67FE8F5A}" type="presParOf" srcId="{205EE03D-7DC5-8D4A-90B7-002A0B47B721}" destId="{98F4EA79-0094-8945-BBE5-6F5AAC086778}" srcOrd="0" destOrd="0" presId="urn:microsoft.com/office/officeart/2005/8/layout/hierarchy4"/>
    <dgm:cxn modelId="{3767B7DA-C83A-43B0-AB34-68FE1B1C0573}" type="presParOf" srcId="{205EE03D-7DC5-8D4A-90B7-002A0B47B721}" destId="{86C5229B-A11D-B640-B674-CD20D5546FFB}" srcOrd="1" destOrd="0" presId="urn:microsoft.com/office/officeart/2005/8/layout/hierarchy4"/>
    <dgm:cxn modelId="{44346467-206E-4210-99D8-0CA3A0332B0A}" type="presParOf" srcId="{07F2754C-E745-394E-B448-01F146E9A493}" destId="{CA86195A-F716-7945-98C7-AAD1637C443F}" srcOrd="5" destOrd="0" presId="urn:microsoft.com/office/officeart/2005/8/layout/hierarchy4"/>
    <dgm:cxn modelId="{4E65F9F3-04E4-4740-AD11-57795EF889AC}" type="presParOf" srcId="{07F2754C-E745-394E-B448-01F146E9A493}" destId="{B99905A1-C96F-044D-8225-400B722465E9}" srcOrd="6" destOrd="0" presId="urn:microsoft.com/office/officeart/2005/8/layout/hierarchy4"/>
    <dgm:cxn modelId="{F175D9FB-694C-4FE8-ABBF-95B16909D09E}" type="presParOf" srcId="{B99905A1-C96F-044D-8225-400B722465E9}" destId="{A85AE542-7156-DD4C-BB6B-F9B719BC4E2C}" srcOrd="0" destOrd="0" presId="urn:microsoft.com/office/officeart/2005/8/layout/hierarchy4"/>
    <dgm:cxn modelId="{2F1E7FF8-F88E-4A25-8B21-79894B402C94}" type="presParOf" srcId="{B99905A1-C96F-044D-8225-400B722465E9}" destId="{CBD09790-7811-2447-A3CE-6A68718CBC71}" srcOrd="1" destOrd="0" presId="urn:microsoft.com/office/officeart/2005/8/layout/hierarchy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C8E4F8A-67E5-2045-9D5E-3FC794334922}" type="doc">
      <dgm:prSet loTypeId="urn:microsoft.com/office/officeart/2005/8/layout/hierarchy4" loCatId="" qsTypeId="urn:microsoft.com/office/officeart/2005/8/quickstyle/simple1" qsCatId="simple" csTypeId="urn:microsoft.com/office/officeart/2005/8/colors/accent1_2" csCatId="accent1" phldr="1"/>
      <dgm:spPr/>
      <dgm:t>
        <a:bodyPr/>
        <a:lstStyle/>
        <a:p>
          <a:endParaRPr lang="en-US"/>
        </a:p>
      </dgm:t>
    </dgm:pt>
    <dgm:pt modelId="{B063000F-8ED0-1244-BEF0-D065EEBFA3F8}">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OS Patches</a:t>
          </a:r>
          <a:endParaRPr lang="en-US" b="0" i="0" dirty="0">
            <a:latin typeface="Helvetica Neue Light" charset="0"/>
            <a:ea typeface="Helvetica Neue Light" charset="0"/>
            <a:cs typeface="Helvetica Neue Light" charset="0"/>
          </a:endParaRPr>
        </a:p>
      </dgm:t>
    </dgm:pt>
    <dgm:pt modelId="{64029229-BA5C-1F4E-A750-DCED7197A61B}" type="parTrans" cxnId="{8080992C-EA2A-4E48-8CAC-096095D96E4D}">
      <dgm:prSet/>
      <dgm:spPr/>
      <dgm:t>
        <a:bodyPr/>
        <a:lstStyle/>
        <a:p>
          <a:endParaRPr lang="en-US" b="0" i="0">
            <a:latin typeface="Helvetica Neue Light" charset="0"/>
            <a:ea typeface="Helvetica Neue Light" charset="0"/>
            <a:cs typeface="Helvetica Neue Light" charset="0"/>
          </a:endParaRPr>
        </a:p>
      </dgm:t>
    </dgm:pt>
    <dgm:pt modelId="{E7E94792-F3E4-F043-8B89-B0E1863467F2}" type="sibTrans" cxnId="{8080992C-EA2A-4E48-8CAC-096095D96E4D}">
      <dgm:prSet/>
      <dgm:spPr/>
      <dgm:t>
        <a:bodyPr/>
        <a:lstStyle/>
        <a:p>
          <a:endParaRPr lang="en-US" b="0" i="0">
            <a:latin typeface="Helvetica Neue Light" charset="0"/>
            <a:ea typeface="Helvetica Neue Light" charset="0"/>
            <a:cs typeface="Helvetica Neue Light" charset="0"/>
          </a:endParaRPr>
        </a:p>
      </dgm:t>
    </dgm:pt>
    <dgm:pt modelId="{C9F2B974-5533-9044-9211-2BF30A2DF8B3}">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BigInsights Patches</a:t>
          </a:r>
          <a:endParaRPr lang="en-US" b="0" i="0" dirty="0">
            <a:latin typeface="Helvetica Neue Light" charset="0"/>
            <a:ea typeface="Helvetica Neue Light" charset="0"/>
            <a:cs typeface="Helvetica Neue Light" charset="0"/>
          </a:endParaRPr>
        </a:p>
      </dgm:t>
    </dgm:pt>
    <dgm:pt modelId="{40B0FA60-C85C-5845-B10B-1F7900959412}" type="parTrans" cxnId="{67B566E2-2D1B-6C4B-A6D1-ED2A44FC1985}">
      <dgm:prSet/>
      <dgm:spPr/>
      <dgm:t>
        <a:bodyPr/>
        <a:lstStyle/>
        <a:p>
          <a:endParaRPr lang="en-US" b="0" i="0">
            <a:latin typeface="Helvetica Neue Light" charset="0"/>
            <a:ea typeface="Helvetica Neue Light" charset="0"/>
            <a:cs typeface="Helvetica Neue Light" charset="0"/>
          </a:endParaRPr>
        </a:p>
      </dgm:t>
    </dgm:pt>
    <dgm:pt modelId="{E0518940-B5A5-2E44-8138-BDE504AF4349}" type="sibTrans" cxnId="{67B566E2-2D1B-6C4B-A6D1-ED2A44FC1985}">
      <dgm:prSet/>
      <dgm:spPr/>
      <dgm:t>
        <a:bodyPr/>
        <a:lstStyle/>
        <a:p>
          <a:endParaRPr lang="en-US" b="0" i="0">
            <a:latin typeface="Helvetica Neue Light" charset="0"/>
            <a:ea typeface="Helvetica Neue Light" charset="0"/>
            <a:cs typeface="Helvetica Neue Light" charset="0"/>
          </a:endParaRPr>
        </a:p>
      </dgm:t>
    </dgm:pt>
    <dgm:pt modelId="{647AE8CA-6030-274E-B82C-E5C7E23D4535}">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Operating System</a:t>
          </a:r>
          <a:endParaRPr lang="en-US" b="0" i="0" dirty="0">
            <a:latin typeface="Helvetica Neue Light" charset="0"/>
            <a:ea typeface="Helvetica Neue Light" charset="0"/>
            <a:cs typeface="Helvetica Neue Light" charset="0"/>
          </a:endParaRPr>
        </a:p>
      </dgm:t>
    </dgm:pt>
    <dgm:pt modelId="{18DFBE46-4C38-3148-A3B0-7B22B47D63E9}" type="parTrans" cxnId="{B05320EC-FBCD-FD4C-86EC-6479FF997A85}">
      <dgm:prSet/>
      <dgm:spPr/>
      <dgm:t>
        <a:bodyPr/>
        <a:lstStyle/>
        <a:p>
          <a:endParaRPr lang="en-US" b="0" i="0">
            <a:latin typeface="Helvetica Neue Light" charset="0"/>
            <a:ea typeface="Helvetica Neue Light" charset="0"/>
            <a:cs typeface="Helvetica Neue Light" charset="0"/>
          </a:endParaRPr>
        </a:p>
      </dgm:t>
    </dgm:pt>
    <dgm:pt modelId="{E70CBF31-E0EE-0E49-9119-1961560EB607}" type="sibTrans" cxnId="{B05320EC-FBCD-FD4C-86EC-6479FF997A85}">
      <dgm:prSet/>
      <dgm:spPr/>
      <dgm:t>
        <a:bodyPr/>
        <a:lstStyle/>
        <a:p>
          <a:endParaRPr lang="en-US" b="0" i="0">
            <a:latin typeface="Helvetica Neue Light" charset="0"/>
            <a:ea typeface="Helvetica Neue Light" charset="0"/>
            <a:cs typeface="Helvetica Neue Light" charset="0"/>
          </a:endParaRPr>
        </a:p>
      </dgm:t>
    </dgm:pt>
    <dgm:pt modelId="{445696DB-11C3-D04C-B88F-BA8759B2E6B2}">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Security</a:t>
          </a:r>
          <a:endParaRPr lang="en-US" b="0" i="0" dirty="0">
            <a:latin typeface="Helvetica Neue Light" charset="0"/>
            <a:ea typeface="Helvetica Neue Light" charset="0"/>
            <a:cs typeface="Helvetica Neue Light" charset="0"/>
          </a:endParaRPr>
        </a:p>
      </dgm:t>
    </dgm:pt>
    <dgm:pt modelId="{F6BBE08D-7656-FB4A-9590-23C8173DAAD5}" type="parTrans" cxnId="{64554DD1-1121-BE4A-A2D5-44CB4D8D0F3F}">
      <dgm:prSet/>
      <dgm:spPr/>
      <dgm:t>
        <a:bodyPr/>
        <a:lstStyle/>
        <a:p>
          <a:endParaRPr lang="en-US" b="0" i="0">
            <a:latin typeface="Helvetica Neue Light" charset="0"/>
            <a:ea typeface="Helvetica Neue Light" charset="0"/>
            <a:cs typeface="Helvetica Neue Light" charset="0"/>
          </a:endParaRPr>
        </a:p>
      </dgm:t>
    </dgm:pt>
    <dgm:pt modelId="{AFF1D25E-983A-7748-9004-873D89FEA9D8}" type="sibTrans" cxnId="{64554DD1-1121-BE4A-A2D5-44CB4D8D0F3F}">
      <dgm:prSet/>
      <dgm:spPr/>
      <dgm:t>
        <a:bodyPr/>
        <a:lstStyle/>
        <a:p>
          <a:endParaRPr lang="en-US" b="0" i="0">
            <a:latin typeface="Helvetica Neue Light" charset="0"/>
            <a:ea typeface="Helvetica Neue Light" charset="0"/>
            <a:cs typeface="Helvetica Neue Light" charset="0"/>
          </a:endParaRPr>
        </a:p>
      </dgm:t>
    </dgm:pt>
    <dgm:pt modelId="{ED497120-36B4-0C4D-8AC8-640C31F5F53B}">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Servers</a:t>
          </a:r>
          <a:endParaRPr lang="en-US" b="0" i="0" dirty="0">
            <a:latin typeface="Helvetica Neue Light" charset="0"/>
            <a:ea typeface="Helvetica Neue Light" charset="0"/>
            <a:cs typeface="Helvetica Neue Light" charset="0"/>
          </a:endParaRPr>
        </a:p>
      </dgm:t>
    </dgm:pt>
    <dgm:pt modelId="{39333497-E349-4A49-8602-78C9180271B5}" type="parTrans" cxnId="{2F1D0604-1143-A446-905D-5D17A31BA3ED}">
      <dgm:prSet/>
      <dgm:spPr/>
      <dgm:t>
        <a:bodyPr/>
        <a:lstStyle/>
        <a:p>
          <a:endParaRPr lang="en-US" b="0" i="0">
            <a:latin typeface="Helvetica Neue Light" charset="0"/>
            <a:ea typeface="Helvetica Neue Light" charset="0"/>
            <a:cs typeface="Helvetica Neue Light" charset="0"/>
          </a:endParaRPr>
        </a:p>
      </dgm:t>
    </dgm:pt>
    <dgm:pt modelId="{BB1CBB2D-C0E3-FA40-A9CA-5948AA3FB1BA}" type="sibTrans" cxnId="{2F1D0604-1143-A446-905D-5D17A31BA3ED}">
      <dgm:prSet/>
      <dgm:spPr/>
      <dgm:t>
        <a:bodyPr/>
        <a:lstStyle/>
        <a:p>
          <a:endParaRPr lang="en-US" b="0" i="0">
            <a:latin typeface="Helvetica Neue Light" charset="0"/>
            <a:ea typeface="Helvetica Neue Light" charset="0"/>
            <a:cs typeface="Helvetica Neue Light" charset="0"/>
          </a:endParaRPr>
        </a:p>
      </dgm:t>
    </dgm:pt>
    <dgm:pt modelId="{8A91A45A-3AAF-1E43-9B77-77B40449E05A}">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Storage</a:t>
          </a:r>
          <a:endParaRPr lang="en-US" b="0" i="0" dirty="0">
            <a:latin typeface="Helvetica Neue Light" charset="0"/>
            <a:ea typeface="Helvetica Neue Light" charset="0"/>
            <a:cs typeface="Helvetica Neue Light" charset="0"/>
          </a:endParaRPr>
        </a:p>
      </dgm:t>
    </dgm:pt>
    <dgm:pt modelId="{47035980-0446-8B45-BA28-B9CEA3A9C17A}" type="parTrans" cxnId="{1CD49B68-C0D4-5843-A882-B2E2531FDD53}">
      <dgm:prSet/>
      <dgm:spPr/>
      <dgm:t>
        <a:bodyPr/>
        <a:lstStyle/>
        <a:p>
          <a:endParaRPr lang="en-US" b="0" i="0">
            <a:latin typeface="Helvetica Neue Light" charset="0"/>
            <a:ea typeface="Helvetica Neue Light" charset="0"/>
            <a:cs typeface="Helvetica Neue Light" charset="0"/>
          </a:endParaRPr>
        </a:p>
      </dgm:t>
    </dgm:pt>
    <dgm:pt modelId="{94114590-72B1-DE45-BCD9-0DA84C98D128}" type="sibTrans" cxnId="{1CD49B68-C0D4-5843-A882-B2E2531FDD53}">
      <dgm:prSet/>
      <dgm:spPr/>
      <dgm:t>
        <a:bodyPr/>
        <a:lstStyle/>
        <a:p>
          <a:endParaRPr lang="en-US" b="0" i="0">
            <a:latin typeface="Helvetica Neue Light" charset="0"/>
            <a:ea typeface="Helvetica Neue Light" charset="0"/>
            <a:cs typeface="Helvetica Neue Light" charset="0"/>
          </a:endParaRPr>
        </a:p>
      </dgm:t>
    </dgm:pt>
    <dgm:pt modelId="{F89D1148-375D-D640-A167-C0DF3DC422F8}">
      <dgm:prSet phldrT="[Text]"/>
      <dgm:spPr>
        <a:solidFill>
          <a:srgbClr val="0A5889"/>
        </a:solidFill>
      </dgm:spPr>
      <dgm:t>
        <a:bodyPr/>
        <a:lstStyle/>
        <a:p>
          <a:r>
            <a:rPr lang="en-US" b="0" i="0" dirty="0" smtClean="0">
              <a:latin typeface="Helvetica Neue Light" charset="0"/>
              <a:ea typeface="Helvetica Neue Light" charset="0"/>
              <a:cs typeface="Helvetica Neue Light" charset="0"/>
            </a:rPr>
            <a:t>Networking</a:t>
          </a:r>
          <a:endParaRPr lang="en-US" b="0" i="0" dirty="0">
            <a:latin typeface="Helvetica Neue Light" charset="0"/>
            <a:ea typeface="Helvetica Neue Light" charset="0"/>
            <a:cs typeface="Helvetica Neue Light" charset="0"/>
          </a:endParaRPr>
        </a:p>
      </dgm:t>
    </dgm:pt>
    <dgm:pt modelId="{D071CAA1-8752-BB4D-B56F-E6704B839161}" type="parTrans" cxnId="{DEB17A15-372A-714E-9BCD-FCFA77ACF7A7}">
      <dgm:prSet/>
      <dgm:spPr/>
      <dgm:t>
        <a:bodyPr/>
        <a:lstStyle/>
        <a:p>
          <a:endParaRPr lang="en-US" b="0" i="0">
            <a:latin typeface="Helvetica Neue Light" charset="0"/>
            <a:ea typeface="Helvetica Neue Light" charset="0"/>
            <a:cs typeface="Helvetica Neue Light" charset="0"/>
          </a:endParaRPr>
        </a:p>
      </dgm:t>
    </dgm:pt>
    <dgm:pt modelId="{ACD1C2CA-7793-5E48-9C37-B36860474928}" type="sibTrans" cxnId="{DEB17A15-372A-714E-9BCD-FCFA77ACF7A7}">
      <dgm:prSet/>
      <dgm:spPr/>
      <dgm:t>
        <a:bodyPr/>
        <a:lstStyle/>
        <a:p>
          <a:endParaRPr lang="en-US" b="0" i="0">
            <a:latin typeface="Helvetica Neue Light" charset="0"/>
            <a:ea typeface="Helvetica Neue Light" charset="0"/>
            <a:cs typeface="Helvetica Neue Light" charset="0"/>
          </a:endParaRPr>
        </a:p>
      </dgm:t>
    </dgm:pt>
    <dgm:pt modelId="{07F2754C-E745-394E-B448-01F146E9A493}" type="pres">
      <dgm:prSet presAssocID="{FC8E4F8A-67E5-2045-9D5E-3FC794334922}" presName="Name0" presStyleCnt="0">
        <dgm:presLayoutVars>
          <dgm:chPref val="1"/>
          <dgm:dir/>
          <dgm:animOne val="branch"/>
          <dgm:animLvl val="lvl"/>
          <dgm:resizeHandles/>
        </dgm:presLayoutVars>
      </dgm:prSet>
      <dgm:spPr/>
      <dgm:t>
        <a:bodyPr/>
        <a:lstStyle/>
        <a:p>
          <a:endParaRPr lang="en-US"/>
        </a:p>
      </dgm:t>
    </dgm:pt>
    <dgm:pt modelId="{07D0B066-E710-5946-8EB9-422B6C81F603}" type="pres">
      <dgm:prSet presAssocID="{B063000F-8ED0-1244-BEF0-D065EEBFA3F8}" presName="vertOne" presStyleCnt="0"/>
      <dgm:spPr/>
    </dgm:pt>
    <dgm:pt modelId="{E59D821B-2DCB-0546-9601-FB7DEAD37E75}" type="pres">
      <dgm:prSet presAssocID="{B063000F-8ED0-1244-BEF0-D065EEBFA3F8}" presName="txOne" presStyleLbl="node0" presStyleIdx="0" presStyleCnt="7">
        <dgm:presLayoutVars>
          <dgm:chPref val="3"/>
        </dgm:presLayoutVars>
      </dgm:prSet>
      <dgm:spPr/>
      <dgm:t>
        <a:bodyPr/>
        <a:lstStyle/>
        <a:p>
          <a:endParaRPr lang="en-US"/>
        </a:p>
      </dgm:t>
    </dgm:pt>
    <dgm:pt modelId="{F0F97776-AEE2-0C4F-AC0A-E6143D42730A}" type="pres">
      <dgm:prSet presAssocID="{B063000F-8ED0-1244-BEF0-D065EEBFA3F8}" presName="horzOne" presStyleCnt="0"/>
      <dgm:spPr/>
    </dgm:pt>
    <dgm:pt modelId="{A3FDB180-18B1-144C-9771-0A33DBB24EB6}" type="pres">
      <dgm:prSet presAssocID="{E7E94792-F3E4-F043-8B89-B0E1863467F2}" presName="sibSpaceOne" presStyleCnt="0"/>
      <dgm:spPr/>
    </dgm:pt>
    <dgm:pt modelId="{38ECF752-403F-9C48-AA94-691B0CB53E6D}" type="pres">
      <dgm:prSet presAssocID="{C9F2B974-5533-9044-9211-2BF30A2DF8B3}" presName="vertOne" presStyleCnt="0"/>
      <dgm:spPr/>
    </dgm:pt>
    <dgm:pt modelId="{7277F222-AE33-A443-914E-7C4930AAE06D}" type="pres">
      <dgm:prSet presAssocID="{C9F2B974-5533-9044-9211-2BF30A2DF8B3}" presName="txOne" presStyleLbl="node0" presStyleIdx="1" presStyleCnt="7">
        <dgm:presLayoutVars>
          <dgm:chPref val="3"/>
        </dgm:presLayoutVars>
      </dgm:prSet>
      <dgm:spPr/>
      <dgm:t>
        <a:bodyPr/>
        <a:lstStyle/>
        <a:p>
          <a:endParaRPr lang="en-US"/>
        </a:p>
      </dgm:t>
    </dgm:pt>
    <dgm:pt modelId="{B088ED4B-CCA2-4448-B05E-7A38C9CF668D}" type="pres">
      <dgm:prSet presAssocID="{C9F2B974-5533-9044-9211-2BF30A2DF8B3}" presName="horzOne" presStyleCnt="0"/>
      <dgm:spPr/>
    </dgm:pt>
    <dgm:pt modelId="{29204D97-A045-B148-9B5A-68699C9BF4DE}" type="pres">
      <dgm:prSet presAssocID="{E0518940-B5A5-2E44-8138-BDE504AF4349}" presName="sibSpaceOne" presStyleCnt="0"/>
      <dgm:spPr/>
    </dgm:pt>
    <dgm:pt modelId="{FAFF4241-B1B3-3342-9548-0EF3182CA35B}" type="pres">
      <dgm:prSet presAssocID="{647AE8CA-6030-274E-B82C-E5C7E23D4535}" presName="vertOne" presStyleCnt="0"/>
      <dgm:spPr/>
    </dgm:pt>
    <dgm:pt modelId="{6394D3A0-A065-654C-B816-2EADF6D019CF}" type="pres">
      <dgm:prSet presAssocID="{647AE8CA-6030-274E-B82C-E5C7E23D4535}" presName="txOne" presStyleLbl="node0" presStyleIdx="2" presStyleCnt="7">
        <dgm:presLayoutVars>
          <dgm:chPref val="3"/>
        </dgm:presLayoutVars>
      </dgm:prSet>
      <dgm:spPr/>
      <dgm:t>
        <a:bodyPr/>
        <a:lstStyle/>
        <a:p>
          <a:endParaRPr lang="en-US"/>
        </a:p>
      </dgm:t>
    </dgm:pt>
    <dgm:pt modelId="{224A40E5-918E-244E-A578-DDEF4396A305}" type="pres">
      <dgm:prSet presAssocID="{647AE8CA-6030-274E-B82C-E5C7E23D4535}" presName="horzOne" presStyleCnt="0"/>
      <dgm:spPr/>
    </dgm:pt>
    <dgm:pt modelId="{0533B9C4-C2A3-5441-90D5-87273FAA12E3}" type="pres">
      <dgm:prSet presAssocID="{E70CBF31-E0EE-0E49-9119-1961560EB607}" presName="sibSpaceOne" presStyleCnt="0"/>
      <dgm:spPr/>
    </dgm:pt>
    <dgm:pt modelId="{0A7BDFC2-A460-C049-9EA4-E1AEEF9BD703}" type="pres">
      <dgm:prSet presAssocID="{445696DB-11C3-D04C-B88F-BA8759B2E6B2}" presName="vertOne" presStyleCnt="0"/>
      <dgm:spPr/>
    </dgm:pt>
    <dgm:pt modelId="{8EF319BB-F79B-1043-8384-AB2840DC6882}" type="pres">
      <dgm:prSet presAssocID="{445696DB-11C3-D04C-B88F-BA8759B2E6B2}" presName="txOne" presStyleLbl="node0" presStyleIdx="3" presStyleCnt="7">
        <dgm:presLayoutVars>
          <dgm:chPref val="3"/>
        </dgm:presLayoutVars>
      </dgm:prSet>
      <dgm:spPr/>
      <dgm:t>
        <a:bodyPr/>
        <a:lstStyle/>
        <a:p>
          <a:endParaRPr lang="en-US"/>
        </a:p>
      </dgm:t>
    </dgm:pt>
    <dgm:pt modelId="{86AC5447-D2F8-CB48-9B7D-62ABB04EBA57}" type="pres">
      <dgm:prSet presAssocID="{445696DB-11C3-D04C-B88F-BA8759B2E6B2}" presName="horzOne" presStyleCnt="0"/>
      <dgm:spPr/>
    </dgm:pt>
    <dgm:pt modelId="{439D003F-C8B4-EF4B-8527-4B98EF6315B4}" type="pres">
      <dgm:prSet presAssocID="{AFF1D25E-983A-7748-9004-873D89FEA9D8}" presName="sibSpaceOne" presStyleCnt="0"/>
      <dgm:spPr/>
    </dgm:pt>
    <dgm:pt modelId="{9816F119-0560-544D-BE89-38651699EE97}" type="pres">
      <dgm:prSet presAssocID="{ED497120-36B4-0C4D-8AC8-640C31F5F53B}" presName="vertOne" presStyleCnt="0"/>
      <dgm:spPr/>
    </dgm:pt>
    <dgm:pt modelId="{EFB0FE43-5CF4-5644-A886-BC97EC161143}" type="pres">
      <dgm:prSet presAssocID="{ED497120-36B4-0C4D-8AC8-640C31F5F53B}" presName="txOne" presStyleLbl="node0" presStyleIdx="4" presStyleCnt="7">
        <dgm:presLayoutVars>
          <dgm:chPref val="3"/>
        </dgm:presLayoutVars>
      </dgm:prSet>
      <dgm:spPr/>
      <dgm:t>
        <a:bodyPr/>
        <a:lstStyle/>
        <a:p>
          <a:endParaRPr lang="en-US"/>
        </a:p>
      </dgm:t>
    </dgm:pt>
    <dgm:pt modelId="{9101E6F1-41F6-2745-BEF6-8D367C59CA5C}" type="pres">
      <dgm:prSet presAssocID="{ED497120-36B4-0C4D-8AC8-640C31F5F53B}" presName="horzOne" presStyleCnt="0"/>
      <dgm:spPr/>
    </dgm:pt>
    <dgm:pt modelId="{11E45713-AFE8-384F-B42A-D6FA2BCD079C}" type="pres">
      <dgm:prSet presAssocID="{BB1CBB2D-C0E3-FA40-A9CA-5948AA3FB1BA}" presName="sibSpaceOne" presStyleCnt="0"/>
      <dgm:spPr/>
    </dgm:pt>
    <dgm:pt modelId="{665286A7-6CFF-C446-A4E9-F5D2CCF475B5}" type="pres">
      <dgm:prSet presAssocID="{8A91A45A-3AAF-1E43-9B77-77B40449E05A}" presName="vertOne" presStyleCnt="0"/>
      <dgm:spPr/>
    </dgm:pt>
    <dgm:pt modelId="{5858EA5E-CE5B-E44D-98DD-C1DB6D53F0DB}" type="pres">
      <dgm:prSet presAssocID="{8A91A45A-3AAF-1E43-9B77-77B40449E05A}" presName="txOne" presStyleLbl="node0" presStyleIdx="5" presStyleCnt="7">
        <dgm:presLayoutVars>
          <dgm:chPref val="3"/>
        </dgm:presLayoutVars>
      </dgm:prSet>
      <dgm:spPr/>
      <dgm:t>
        <a:bodyPr/>
        <a:lstStyle/>
        <a:p>
          <a:endParaRPr lang="en-US"/>
        </a:p>
      </dgm:t>
    </dgm:pt>
    <dgm:pt modelId="{0D0825B2-6F4F-1A42-B1BF-BA000D56F5AC}" type="pres">
      <dgm:prSet presAssocID="{8A91A45A-3AAF-1E43-9B77-77B40449E05A}" presName="horzOne" presStyleCnt="0"/>
      <dgm:spPr/>
    </dgm:pt>
    <dgm:pt modelId="{AC34554F-A308-1540-B79C-C5AD1BCB24A1}" type="pres">
      <dgm:prSet presAssocID="{94114590-72B1-DE45-BCD9-0DA84C98D128}" presName="sibSpaceOne" presStyleCnt="0"/>
      <dgm:spPr/>
    </dgm:pt>
    <dgm:pt modelId="{0223DE0F-AC04-3448-8E93-BE17574100B1}" type="pres">
      <dgm:prSet presAssocID="{F89D1148-375D-D640-A167-C0DF3DC422F8}" presName="vertOne" presStyleCnt="0"/>
      <dgm:spPr/>
    </dgm:pt>
    <dgm:pt modelId="{13A94814-5466-D346-9003-622A55CFE961}" type="pres">
      <dgm:prSet presAssocID="{F89D1148-375D-D640-A167-C0DF3DC422F8}" presName="txOne" presStyleLbl="node0" presStyleIdx="6" presStyleCnt="7">
        <dgm:presLayoutVars>
          <dgm:chPref val="3"/>
        </dgm:presLayoutVars>
      </dgm:prSet>
      <dgm:spPr/>
      <dgm:t>
        <a:bodyPr/>
        <a:lstStyle/>
        <a:p>
          <a:endParaRPr lang="en-US"/>
        </a:p>
      </dgm:t>
    </dgm:pt>
    <dgm:pt modelId="{22BC98A2-A909-204A-B2C3-D3A2611A01BA}" type="pres">
      <dgm:prSet presAssocID="{F89D1148-375D-D640-A167-C0DF3DC422F8}" presName="horzOne" presStyleCnt="0"/>
      <dgm:spPr/>
    </dgm:pt>
  </dgm:ptLst>
  <dgm:cxnLst>
    <dgm:cxn modelId="{8080992C-EA2A-4E48-8CAC-096095D96E4D}" srcId="{FC8E4F8A-67E5-2045-9D5E-3FC794334922}" destId="{B063000F-8ED0-1244-BEF0-D065EEBFA3F8}" srcOrd="0" destOrd="0" parTransId="{64029229-BA5C-1F4E-A750-DCED7197A61B}" sibTransId="{E7E94792-F3E4-F043-8B89-B0E1863467F2}"/>
    <dgm:cxn modelId="{4FB305E9-B5C1-46A9-A3FB-BA208F2BCDDC}" type="presOf" srcId="{B063000F-8ED0-1244-BEF0-D065EEBFA3F8}" destId="{E59D821B-2DCB-0546-9601-FB7DEAD37E75}" srcOrd="0" destOrd="0" presId="urn:microsoft.com/office/officeart/2005/8/layout/hierarchy4"/>
    <dgm:cxn modelId="{67B566E2-2D1B-6C4B-A6D1-ED2A44FC1985}" srcId="{FC8E4F8A-67E5-2045-9D5E-3FC794334922}" destId="{C9F2B974-5533-9044-9211-2BF30A2DF8B3}" srcOrd="1" destOrd="0" parTransId="{40B0FA60-C85C-5845-B10B-1F7900959412}" sibTransId="{E0518940-B5A5-2E44-8138-BDE504AF4349}"/>
    <dgm:cxn modelId="{990F5DCD-BEDE-4422-9896-7B813F9386E3}" type="presOf" srcId="{C9F2B974-5533-9044-9211-2BF30A2DF8B3}" destId="{7277F222-AE33-A443-914E-7C4930AAE06D}" srcOrd="0" destOrd="0" presId="urn:microsoft.com/office/officeart/2005/8/layout/hierarchy4"/>
    <dgm:cxn modelId="{5124A92A-99F6-4F96-BD12-29A957DEB8A1}" type="presOf" srcId="{ED497120-36B4-0C4D-8AC8-640C31F5F53B}" destId="{EFB0FE43-5CF4-5644-A886-BC97EC161143}" srcOrd="0" destOrd="0" presId="urn:microsoft.com/office/officeart/2005/8/layout/hierarchy4"/>
    <dgm:cxn modelId="{ED9400CC-7C92-4394-BE6D-57E980147FB4}" type="presOf" srcId="{8A91A45A-3AAF-1E43-9B77-77B40449E05A}" destId="{5858EA5E-CE5B-E44D-98DD-C1DB6D53F0DB}" srcOrd="0" destOrd="0" presId="urn:microsoft.com/office/officeart/2005/8/layout/hierarchy4"/>
    <dgm:cxn modelId="{A224D302-C53D-4255-B2A2-3CB76F3A2059}" type="presOf" srcId="{445696DB-11C3-D04C-B88F-BA8759B2E6B2}" destId="{8EF319BB-F79B-1043-8384-AB2840DC6882}" srcOrd="0" destOrd="0" presId="urn:microsoft.com/office/officeart/2005/8/layout/hierarchy4"/>
    <dgm:cxn modelId="{EF056A67-3EFB-4F5A-877F-7EE5AE8C1AE3}" type="presOf" srcId="{F89D1148-375D-D640-A167-C0DF3DC422F8}" destId="{13A94814-5466-D346-9003-622A55CFE961}" srcOrd="0" destOrd="0" presId="urn:microsoft.com/office/officeart/2005/8/layout/hierarchy4"/>
    <dgm:cxn modelId="{E41970CF-01D1-48AD-8F6B-0EA47AB2044E}" type="presOf" srcId="{647AE8CA-6030-274E-B82C-E5C7E23D4535}" destId="{6394D3A0-A065-654C-B816-2EADF6D019CF}" srcOrd="0" destOrd="0" presId="urn:microsoft.com/office/officeart/2005/8/layout/hierarchy4"/>
    <dgm:cxn modelId="{64554DD1-1121-BE4A-A2D5-44CB4D8D0F3F}" srcId="{FC8E4F8A-67E5-2045-9D5E-3FC794334922}" destId="{445696DB-11C3-D04C-B88F-BA8759B2E6B2}" srcOrd="3" destOrd="0" parTransId="{F6BBE08D-7656-FB4A-9590-23C8173DAAD5}" sibTransId="{AFF1D25E-983A-7748-9004-873D89FEA9D8}"/>
    <dgm:cxn modelId="{4B284D68-1753-4F7F-B960-524FCE59497E}" type="presOf" srcId="{FC8E4F8A-67E5-2045-9D5E-3FC794334922}" destId="{07F2754C-E745-394E-B448-01F146E9A493}" srcOrd="0" destOrd="0" presId="urn:microsoft.com/office/officeart/2005/8/layout/hierarchy4"/>
    <dgm:cxn modelId="{1CD49B68-C0D4-5843-A882-B2E2531FDD53}" srcId="{FC8E4F8A-67E5-2045-9D5E-3FC794334922}" destId="{8A91A45A-3AAF-1E43-9B77-77B40449E05A}" srcOrd="5" destOrd="0" parTransId="{47035980-0446-8B45-BA28-B9CEA3A9C17A}" sibTransId="{94114590-72B1-DE45-BCD9-0DA84C98D128}"/>
    <dgm:cxn modelId="{2F1D0604-1143-A446-905D-5D17A31BA3ED}" srcId="{FC8E4F8A-67E5-2045-9D5E-3FC794334922}" destId="{ED497120-36B4-0C4D-8AC8-640C31F5F53B}" srcOrd="4" destOrd="0" parTransId="{39333497-E349-4A49-8602-78C9180271B5}" sibTransId="{BB1CBB2D-C0E3-FA40-A9CA-5948AA3FB1BA}"/>
    <dgm:cxn modelId="{DEB17A15-372A-714E-9BCD-FCFA77ACF7A7}" srcId="{FC8E4F8A-67E5-2045-9D5E-3FC794334922}" destId="{F89D1148-375D-D640-A167-C0DF3DC422F8}" srcOrd="6" destOrd="0" parTransId="{D071CAA1-8752-BB4D-B56F-E6704B839161}" sibTransId="{ACD1C2CA-7793-5E48-9C37-B36860474928}"/>
    <dgm:cxn modelId="{B05320EC-FBCD-FD4C-86EC-6479FF997A85}" srcId="{FC8E4F8A-67E5-2045-9D5E-3FC794334922}" destId="{647AE8CA-6030-274E-B82C-E5C7E23D4535}" srcOrd="2" destOrd="0" parTransId="{18DFBE46-4C38-3148-A3B0-7B22B47D63E9}" sibTransId="{E70CBF31-E0EE-0E49-9119-1961560EB607}"/>
    <dgm:cxn modelId="{6A93F860-499F-4D0E-B25B-7274E2845D15}" type="presParOf" srcId="{07F2754C-E745-394E-B448-01F146E9A493}" destId="{07D0B066-E710-5946-8EB9-422B6C81F603}" srcOrd="0" destOrd="0" presId="urn:microsoft.com/office/officeart/2005/8/layout/hierarchy4"/>
    <dgm:cxn modelId="{9C446B29-9216-42F6-AE10-57F43E0F7AEF}" type="presParOf" srcId="{07D0B066-E710-5946-8EB9-422B6C81F603}" destId="{E59D821B-2DCB-0546-9601-FB7DEAD37E75}" srcOrd="0" destOrd="0" presId="urn:microsoft.com/office/officeart/2005/8/layout/hierarchy4"/>
    <dgm:cxn modelId="{A8A77198-9D7C-4D57-BB8E-8CE35569FF94}" type="presParOf" srcId="{07D0B066-E710-5946-8EB9-422B6C81F603}" destId="{F0F97776-AEE2-0C4F-AC0A-E6143D42730A}" srcOrd="1" destOrd="0" presId="urn:microsoft.com/office/officeart/2005/8/layout/hierarchy4"/>
    <dgm:cxn modelId="{0BC1AD4E-ED9E-409E-9043-3A27822436BE}" type="presParOf" srcId="{07F2754C-E745-394E-B448-01F146E9A493}" destId="{A3FDB180-18B1-144C-9771-0A33DBB24EB6}" srcOrd="1" destOrd="0" presId="urn:microsoft.com/office/officeart/2005/8/layout/hierarchy4"/>
    <dgm:cxn modelId="{81171556-F765-417A-98A4-9FAED7DEEC81}" type="presParOf" srcId="{07F2754C-E745-394E-B448-01F146E9A493}" destId="{38ECF752-403F-9C48-AA94-691B0CB53E6D}" srcOrd="2" destOrd="0" presId="urn:microsoft.com/office/officeart/2005/8/layout/hierarchy4"/>
    <dgm:cxn modelId="{BF48A7EF-B0F9-4D7C-BA80-8F1CBC1C1376}" type="presParOf" srcId="{38ECF752-403F-9C48-AA94-691B0CB53E6D}" destId="{7277F222-AE33-A443-914E-7C4930AAE06D}" srcOrd="0" destOrd="0" presId="urn:microsoft.com/office/officeart/2005/8/layout/hierarchy4"/>
    <dgm:cxn modelId="{DBC259FC-0BAE-40FB-9640-43645A3FF212}" type="presParOf" srcId="{38ECF752-403F-9C48-AA94-691B0CB53E6D}" destId="{B088ED4B-CCA2-4448-B05E-7A38C9CF668D}" srcOrd="1" destOrd="0" presId="urn:microsoft.com/office/officeart/2005/8/layout/hierarchy4"/>
    <dgm:cxn modelId="{C2677892-E722-416F-A249-E37D04919006}" type="presParOf" srcId="{07F2754C-E745-394E-B448-01F146E9A493}" destId="{29204D97-A045-B148-9B5A-68699C9BF4DE}" srcOrd="3" destOrd="0" presId="urn:microsoft.com/office/officeart/2005/8/layout/hierarchy4"/>
    <dgm:cxn modelId="{A2B45331-9EC6-4C4B-8BAC-71F059838BF0}" type="presParOf" srcId="{07F2754C-E745-394E-B448-01F146E9A493}" destId="{FAFF4241-B1B3-3342-9548-0EF3182CA35B}" srcOrd="4" destOrd="0" presId="urn:microsoft.com/office/officeart/2005/8/layout/hierarchy4"/>
    <dgm:cxn modelId="{6A873FD9-6F62-4C26-ABA9-FE4B8773F0D2}" type="presParOf" srcId="{FAFF4241-B1B3-3342-9548-0EF3182CA35B}" destId="{6394D3A0-A065-654C-B816-2EADF6D019CF}" srcOrd="0" destOrd="0" presId="urn:microsoft.com/office/officeart/2005/8/layout/hierarchy4"/>
    <dgm:cxn modelId="{1F910581-0B33-4315-B012-D848B03F8F21}" type="presParOf" srcId="{FAFF4241-B1B3-3342-9548-0EF3182CA35B}" destId="{224A40E5-918E-244E-A578-DDEF4396A305}" srcOrd="1" destOrd="0" presId="urn:microsoft.com/office/officeart/2005/8/layout/hierarchy4"/>
    <dgm:cxn modelId="{7226D946-0D88-498C-8E37-35AA5025F8CA}" type="presParOf" srcId="{07F2754C-E745-394E-B448-01F146E9A493}" destId="{0533B9C4-C2A3-5441-90D5-87273FAA12E3}" srcOrd="5" destOrd="0" presId="urn:microsoft.com/office/officeart/2005/8/layout/hierarchy4"/>
    <dgm:cxn modelId="{6DC3A054-873B-43F2-9152-1633627B370C}" type="presParOf" srcId="{07F2754C-E745-394E-B448-01F146E9A493}" destId="{0A7BDFC2-A460-C049-9EA4-E1AEEF9BD703}" srcOrd="6" destOrd="0" presId="urn:microsoft.com/office/officeart/2005/8/layout/hierarchy4"/>
    <dgm:cxn modelId="{DA68D145-76DB-43B0-8C96-2FB07B0199FB}" type="presParOf" srcId="{0A7BDFC2-A460-C049-9EA4-E1AEEF9BD703}" destId="{8EF319BB-F79B-1043-8384-AB2840DC6882}" srcOrd="0" destOrd="0" presId="urn:microsoft.com/office/officeart/2005/8/layout/hierarchy4"/>
    <dgm:cxn modelId="{D17806B6-343D-4FCF-9ABE-691EF52F9B8A}" type="presParOf" srcId="{0A7BDFC2-A460-C049-9EA4-E1AEEF9BD703}" destId="{86AC5447-D2F8-CB48-9B7D-62ABB04EBA57}" srcOrd="1" destOrd="0" presId="urn:microsoft.com/office/officeart/2005/8/layout/hierarchy4"/>
    <dgm:cxn modelId="{E8E4431C-E227-468D-94A3-C63FC2804D2F}" type="presParOf" srcId="{07F2754C-E745-394E-B448-01F146E9A493}" destId="{439D003F-C8B4-EF4B-8527-4B98EF6315B4}" srcOrd="7" destOrd="0" presId="urn:microsoft.com/office/officeart/2005/8/layout/hierarchy4"/>
    <dgm:cxn modelId="{7BD0581E-7709-439B-8586-568036C42DCE}" type="presParOf" srcId="{07F2754C-E745-394E-B448-01F146E9A493}" destId="{9816F119-0560-544D-BE89-38651699EE97}" srcOrd="8" destOrd="0" presId="urn:microsoft.com/office/officeart/2005/8/layout/hierarchy4"/>
    <dgm:cxn modelId="{164B0D5F-75F8-4AD9-AA46-16F00152ECBD}" type="presParOf" srcId="{9816F119-0560-544D-BE89-38651699EE97}" destId="{EFB0FE43-5CF4-5644-A886-BC97EC161143}" srcOrd="0" destOrd="0" presId="urn:microsoft.com/office/officeart/2005/8/layout/hierarchy4"/>
    <dgm:cxn modelId="{0ADC47CF-D1D3-4E9E-AFEE-9AA4421F3D6A}" type="presParOf" srcId="{9816F119-0560-544D-BE89-38651699EE97}" destId="{9101E6F1-41F6-2745-BEF6-8D367C59CA5C}" srcOrd="1" destOrd="0" presId="urn:microsoft.com/office/officeart/2005/8/layout/hierarchy4"/>
    <dgm:cxn modelId="{AB8E29F5-4F3E-41BB-BA8F-CC9E9C0BDEF2}" type="presParOf" srcId="{07F2754C-E745-394E-B448-01F146E9A493}" destId="{11E45713-AFE8-384F-B42A-D6FA2BCD079C}" srcOrd="9" destOrd="0" presId="urn:microsoft.com/office/officeart/2005/8/layout/hierarchy4"/>
    <dgm:cxn modelId="{5078A095-CDCF-48BB-B240-7995FCA6801E}" type="presParOf" srcId="{07F2754C-E745-394E-B448-01F146E9A493}" destId="{665286A7-6CFF-C446-A4E9-F5D2CCF475B5}" srcOrd="10" destOrd="0" presId="urn:microsoft.com/office/officeart/2005/8/layout/hierarchy4"/>
    <dgm:cxn modelId="{259AF578-72DA-4AB2-A4E3-17EDD667B950}" type="presParOf" srcId="{665286A7-6CFF-C446-A4E9-F5D2CCF475B5}" destId="{5858EA5E-CE5B-E44D-98DD-C1DB6D53F0DB}" srcOrd="0" destOrd="0" presId="urn:microsoft.com/office/officeart/2005/8/layout/hierarchy4"/>
    <dgm:cxn modelId="{13F12F0E-4B6D-4ABB-9BF4-149A7563A9BD}" type="presParOf" srcId="{665286A7-6CFF-C446-A4E9-F5D2CCF475B5}" destId="{0D0825B2-6F4F-1A42-B1BF-BA000D56F5AC}" srcOrd="1" destOrd="0" presId="urn:microsoft.com/office/officeart/2005/8/layout/hierarchy4"/>
    <dgm:cxn modelId="{DBFB386D-065F-48F7-A9A9-2EF3E76FF5B4}" type="presParOf" srcId="{07F2754C-E745-394E-B448-01F146E9A493}" destId="{AC34554F-A308-1540-B79C-C5AD1BCB24A1}" srcOrd="11" destOrd="0" presId="urn:microsoft.com/office/officeart/2005/8/layout/hierarchy4"/>
    <dgm:cxn modelId="{10E25F18-A8ED-4EC7-A4E0-FDCF645FA317}" type="presParOf" srcId="{07F2754C-E745-394E-B448-01F146E9A493}" destId="{0223DE0F-AC04-3448-8E93-BE17574100B1}" srcOrd="12" destOrd="0" presId="urn:microsoft.com/office/officeart/2005/8/layout/hierarchy4"/>
    <dgm:cxn modelId="{B181857C-9D3D-45B5-A903-EF0092D76BF1}" type="presParOf" srcId="{0223DE0F-AC04-3448-8E93-BE17574100B1}" destId="{13A94814-5466-D346-9003-622A55CFE961}" srcOrd="0" destOrd="0" presId="urn:microsoft.com/office/officeart/2005/8/layout/hierarchy4"/>
    <dgm:cxn modelId="{BA98586F-23EC-4289-AA9F-2A1B4426FF2F}" type="presParOf" srcId="{0223DE0F-AC04-3448-8E93-BE17574100B1}" destId="{22BC98A2-A909-204A-B2C3-D3A2611A01BA}" srcOrd="1" destOrd="0" presId="urn:microsoft.com/office/officeart/2005/8/layout/hierarchy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6766C-2B5D-4D09-90DF-385E36E6C57D}">
      <dsp:nvSpPr>
        <dsp:cNvPr id="0" name=""/>
        <dsp:cNvSpPr/>
      </dsp:nvSpPr>
      <dsp:spPr>
        <a:xfrm>
          <a:off x="270994" y="0"/>
          <a:ext cx="3071275" cy="119814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04D84C-DEDF-4E9D-BE73-5643666E8F40}">
      <dsp:nvSpPr>
        <dsp:cNvPr id="0" name=""/>
        <dsp:cNvSpPr/>
      </dsp:nvSpPr>
      <dsp:spPr>
        <a:xfrm>
          <a:off x="21259" y="359442"/>
          <a:ext cx="1716300"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SQL</a:t>
          </a:r>
          <a:endParaRPr lang="en-US" sz="1500" kern="1200" dirty="0"/>
        </a:p>
      </dsp:txBody>
      <dsp:txXfrm>
        <a:off x="44654" y="382837"/>
        <a:ext cx="1669510" cy="432466"/>
      </dsp:txXfrm>
    </dsp:sp>
    <dsp:sp modelId="{BBC9E803-8988-45AA-85F7-D9343FC7AEE5}">
      <dsp:nvSpPr>
        <dsp:cNvPr id="0" name=""/>
        <dsp:cNvSpPr/>
      </dsp:nvSpPr>
      <dsp:spPr>
        <a:xfrm>
          <a:off x="1875704" y="359442"/>
          <a:ext cx="1716300"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Machine Learning</a:t>
          </a:r>
          <a:endParaRPr lang="en-US" sz="1500" kern="1200" dirty="0"/>
        </a:p>
      </dsp:txBody>
      <dsp:txXfrm>
        <a:off x="1899099" y="382837"/>
        <a:ext cx="1669510" cy="43246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DFS</a:t>
          </a:r>
          <a:endParaRPr lang="en-US" sz="1200" b="0" i="0" kern="1200" dirty="0">
            <a:latin typeface="Helvetica Neue Light" charset="0"/>
            <a:ea typeface="Helvetica Neue Light" charset="0"/>
            <a:cs typeface="Helvetica Neue Light"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pReduce</a:t>
          </a:r>
          <a:endParaRPr lang="en-US" sz="1200" b="0" i="0" kern="1200" dirty="0">
            <a:latin typeface="Helvetica Neue Light" charset="0"/>
            <a:ea typeface="Helvetica Neue Light" charset="0"/>
            <a:cs typeface="Helvetica Neue Light"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Spark</a:t>
          </a:r>
          <a:endParaRPr lang="en-US" sz="1200" b="0" i="0" kern="1200" dirty="0">
            <a:latin typeface="Helvetica Neue Light" charset="0"/>
            <a:ea typeface="Helvetica Neue Light" charset="0"/>
            <a:cs typeface="Helvetica Neue Light"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ive</a:t>
          </a:r>
          <a:endParaRPr lang="en-US" sz="1200" b="0" i="0" kern="1200" dirty="0">
            <a:latin typeface="Helvetica Neue Light" charset="0"/>
            <a:ea typeface="Helvetica Neue Light" charset="0"/>
            <a:cs typeface="Helvetica Neue Light"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Catalog</a:t>
          </a:r>
          <a:endParaRPr lang="en-US" sz="1200" b="0" i="0" kern="1200" dirty="0">
            <a:latin typeface="Helvetica Neue Light" charset="0"/>
            <a:ea typeface="Helvetica Neue Light" charset="0"/>
            <a:cs typeface="Helvetica Neue Light"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Pig</a:t>
          </a:r>
          <a:endParaRPr lang="en-US" sz="1200" b="0" i="0" kern="1200" dirty="0">
            <a:latin typeface="Helvetica Neue Light" charset="0"/>
            <a:ea typeface="Helvetica Neue Light" charset="0"/>
            <a:cs typeface="Helvetica Neue Light" charset="0"/>
          </a:endParaRPr>
        </a:p>
      </dsp:txBody>
      <dsp:txXfrm>
        <a:off x="6434351" y="11294"/>
        <a:ext cx="1076357" cy="363025"/>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YARN</a:t>
          </a:r>
          <a:endParaRPr lang="en-US" sz="1200" b="0" i="0" kern="1200" dirty="0">
            <a:latin typeface="Helvetica Neue Thin" charset="0"/>
            <a:ea typeface="Helvetica Neue Thin" charset="0"/>
            <a:cs typeface="Helvetica Neue Thin"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Ambari</a:t>
          </a:r>
          <a:endParaRPr lang="en-US" sz="1200" b="0" i="0" kern="1200" dirty="0">
            <a:latin typeface="Helvetica Neue Thin" charset="0"/>
            <a:ea typeface="Helvetica Neue Thin" charset="0"/>
            <a:cs typeface="Helvetica Neue Thin"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HBase</a:t>
          </a:r>
          <a:endParaRPr lang="en-US" sz="1200" b="0" i="0" kern="1200" dirty="0">
            <a:latin typeface="Helvetica Neue Thin" charset="0"/>
            <a:ea typeface="Helvetica Neue Thin" charset="0"/>
            <a:cs typeface="Helvetica Neue Thin"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Flume</a:t>
          </a:r>
          <a:endParaRPr lang="en-US" sz="1200" b="0" i="0" kern="1200" dirty="0">
            <a:latin typeface="Helvetica Neue Thin" charset="0"/>
            <a:ea typeface="Helvetica Neue Thin" charset="0"/>
            <a:cs typeface="Helvetica Neue Thin"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qoop</a:t>
          </a:r>
          <a:endParaRPr lang="en-US" sz="1200" b="0" i="0" kern="1200" dirty="0">
            <a:latin typeface="Helvetica Neue Thin" charset="0"/>
            <a:ea typeface="Helvetica Neue Thin" charset="0"/>
            <a:cs typeface="Helvetica Neue Thin"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olr / Lucene</a:t>
          </a:r>
          <a:endParaRPr lang="en-US" sz="1200" b="0" i="0" kern="1200" dirty="0">
            <a:latin typeface="Helvetica Neue Thin" charset="0"/>
            <a:ea typeface="Helvetica Neue Thin" charset="0"/>
            <a:cs typeface="Helvetica Neue Thin" charset="0"/>
          </a:endParaRPr>
        </a:p>
      </dsp:txBody>
      <dsp:txXfrm>
        <a:off x="6434351" y="11294"/>
        <a:ext cx="1076357" cy="36302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DFS</a:t>
          </a:r>
          <a:endParaRPr lang="en-US" sz="1200" b="0" i="0" kern="1200" dirty="0">
            <a:latin typeface="Helvetica Neue Light" charset="0"/>
            <a:ea typeface="Helvetica Neue Light" charset="0"/>
            <a:cs typeface="Helvetica Neue Light"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pReduce</a:t>
          </a:r>
          <a:endParaRPr lang="en-US" sz="1200" b="0" i="0" kern="1200" dirty="0">
            <a:latin typeface="Helvetica Neue Light" charset="0"/>
            <a:ea typeface="Helvetica Neue Light" charset="0"/>
            <a:cs typeface="Helvetica Neue Light"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Spark</a:t>
          </a:r>
          <a:endParaRPr lang="en-US" sz="1200" b="0" i="0" kern="1200" dirty="0">
            <a:latin typeface="Helvetica Neue Light" charset="0"/>
            <a:ea typeface="Helvetica Neue Light" charset="0"/>
            <a:cs typeface="Helvetica Neue Light"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ive</a:t>
          </a:r>
          <a:endParaRPr lang="en-US" sz="1200" b="0" i="0" kern="1200" dirty="0">
            <a:latin typeface="Helvetica Neue Light" charset="0"/>
            <a:ea typeface="Helvetica Neue Light" charset="0"/>
            <a:cs typeface="Helvetica Neue Light"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Catalog</a:t>
          </a:r>
          <a:endParaRPr lang="en-US" sz="1200" b="0" i="0" kern="1200" dirty="0">
            <a:latin typeface="Helvetica Neue Light" charset="0"/>
            <a:ea typeface="Helvetica Neue Light" charset="0"/>
            <a:cs typeface="Helvetica Neue Light"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Pig</a:t>
          </a:r>
          <a:endParaRPr lang="en-US" sz="1200" b="0" i="0" kern="1200" dirty="0">
            <a:latin typeface="Helvetica Neue Light" charset="0"/>
            <a:ea typeface="Helvetica Neue Light" charset="0"/>
            <a:cs typeface="Helvetica Neue Light" charset="0"/>
          </a:endParaRPr>
        </a:p>
      </dsp:txBody>
      <dsp:txXfrm>
        <a:off x="6434351" y="11294"/>
        <a:ext cx="1076357" cy="36302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YARN</a:t>
          </a:r>
          <a:endParaRPr lang="en-US" sz="1200" b="0" i="0" kern="1200" dirty="0">
            <a:latin typeface="Helvetica Neue Thin" charset="0"/>
            <a:ea typeface="Helvetica Neue Thin" charset="0"/>
            <a:cs typeface="Helvetica Neue Thin"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Ambari</a:t>
          </a:r>
          <a:endParaRPr lang="en-US" sz="1200" b="0" i="0" kern="1200" dirty="0">
            <a:latin typeface="Helvetica Neue Thin" charset="0"/>
            <a:ea typeface="Helvetica Neue Thin" charset="0"/>
            <a:cs typeface="Helvetica Neue Thin"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HBase</a:t>
          </a:r>
          <a:endParaRPr lang="en-US" sz="1200" b="0" i="0" kern="1200" dirty="0">
            <a:latin typeface="Helvetica Neue Thin" charset="0"/>
            <a:ea typeface="Helvetica Neue Thin" charset="0"/>
            <a:cs typeface="Helvetica Neue Thin"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Flume</a:t>
          </a:r>
          <a:endParaRPr lang="en-US" sz="1200" b="0" i="0" kern="1200" dirty="0">
            <a:latin typeface="Helvetica Neue Thin" charset="0"/>
            <a:ea typeface="Helvetica Neue Thin" charset="0"/>
            <a:cs typeface="Helvetica Neue Thin"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qoop</a:t>
          </a:r>
          <a:endParaRPr lang="en-US" sz="1200" b="0" i="0" kern="1200" dirty="0">
            <a:latin typeface="Helvetica Neue Thin" charset="0"/>
            <a:ea typeface="Helvetica Neue Thin" charset="0"/>
            <a:cs typeface="Helvetica Neue Thin"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olr / Lucene</a:t>
          </a:r>
          <a:endParaRPr lang="en-US" sz="1200" b="0" i="0" kern="1200" dirty="0">
            <a:latin typeface="Helvetica Neue Thin" charset="0"/>
            <a:ea typeface="Helvetica Neue Thin" charset="0"/>
            <a:cs typeface="Helvetica Neue Thin" charset="0"/>
          </a:endParaRPr>
        </a:p>
      </dsp:txBody>
      <dsp:txXfrm>
        <a:off x="6434351" y="11294"/>
        <a:ext cx="1076357" cy="36302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Sheets</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 SQL</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DFS</a:t>
          </a:r>
          <a:endParaRPr lang="en-US" sz="1200" b="0" i="0" kern="1200" dirty="0">
            <a:latin typeface="Helvetica Neue Light" charset="0"/>
            <a:ea typeface="Helvetica Neue Light" charset="0"/>
            <a:cs typeface="Helvetica Neue Light"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pReduce</a:t>
          </a:r>
          <a:endParaRPr lang="en-US" sz="1200" b="0" i="0" kern="1200" dirty="0">
            <a:latin typeface="Helvetica Neue Light" charset="0"/>
            <a:ea typeface="Helvetica Neue Light" charset="0"/>
            <a:cs typeface="Helvetica Neue Light"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Spark</a:t>
          </a:r>
          <a:endParaRPr lang="en-US" sz="1200" b="0" i="0" kern="1200" dirty="0">
            <a:latin typeface="Helvetica Neue Light" charset="0"/>
            <a:ea typeface="Helvetica Neue Light" charset="0"/>
            <a:cs typeface="Helvetica Neue Light"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ive</a:t>
          </a:r>
          <a:endParaRPr lang="en-US" sz="1200" b="0" i="0" kern="1200" dirty="0">
            <a:latin typeface="Helvetica Neue Light" charset="0"/>
            <a:ea typeface="Helvetica Neue Light" charset="0"/>
            <a:cs typeface="Helvetica Neue Light"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Catalog</a:t>
          </a:r>
          <a:endParaRPr lang="en-US" sz="1200" b="0" i="0" kern="1200" dirty="0">
            <a:latin typeface="Helvetica Neue Light" charset="0"/>
            <a:ea typeface="Helvetica Neue Light" charset="0"/>
            <a:cs typeface="Helvetica Neue Light"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Pig</a:t>
          </a:r>
          <a:endParaRPr lang="en-US" sz="1200" b="0" i="0" kern="1200" dirty="0">
            <a:latin typeface="Helvetica Neue Light" charset="0"/>
            <a:ea typeface="Helvetica Neue Light" charset="0"/>
            <a:cs typeface="Helvetica Neue Light" charset="0"/>
          </a:endParaRPr>
        </a:p>
      </dsp:txBody>
      <dsp:txXfrm>
        <a:off x="6434351" y="11294"/>
        <a:ext cx="1076357" cy="36302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5219"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YARN</a:t>
          </a:r>
          <a:endParaRPr lang="en-US" sz="1200" b="0" i="0" kern="1200" dirty="0">
            <a:latin typeface="Helvetica Neue Thin" charset="0"/>
            <a:ea typeface="Helvetica Neue Thin" charset="0"/>
            <a:cs typeface="Helvetica Neue Thin" charset="0"/>
          </a:endParaRPr>
        </a:p>
      </dsp:txBody>
      <dsp:txXfrm>
        <a:off x="16513" y="11294"/>
        <a:ext cx="1076357" cy="363025"/>
      </dsp:txXfrm>
    </dsp:sp>
    <dsp:sp modelId="{A97B6EE3-C913-9249-9BB0-F869F56702F9}">
      <dsp:nvSpPr>
        <dsp:cNvPr id="0" name=""/>
        <dsp:cNvSpPr/>
      </dsp:nvSpPr>
      <dsp:spPr>
        <a:xfrm>
          <a:off x="1288786" y="0"/>
          <a:ext cx="109894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Ambari</a:t>
          </a:r>
          <a:endParaRPr lang="en-US" sz="1200" b="0" i="0" kern="1200" dirty="0">
            <a:latin typeface="Helvetica Neue Thin" charset="0"/>
            <a:ea typeface="Helvetica Neue Thin" charset="0"/>
            <a:cs typeface="Helvetica Neue Thin" charset="0"/>
          </a:endParaRPr>
        </a:p>
      </dsp:txBody>
      <dsp:txXfrm>
        <a:off x="1300080" y="11294"/>
        <a:ext cx="1076357" cy="363025"/>
      </dsp:txXfrm>
    </dsp:sp>
    <dsp:sp modelId="{027D962D-2EA5-464F-827D-5FE1D8B618A1}">
      <dsp:nvSpPr>
        <dsp:cNvPr id="0" name=""/>
        <dsp:cNvSpPr/>
      </dsp:nvSpPr>
      <dsp:spPr>
        <a:xfrm>
          <a:off x="2572354"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HBase</a:t>
          </a:r>
          <a:endParaRPr lang="en-US" sz="1200" b="0" i="0" kern="1200" dirty="0">
            <a:latin typeface="Helvetica Neue Thin" charset="0"/>
            <a:ea typeface="Helvetica Neue Thin" charset="0"/>
            <a:cs typeface="Helvetica Neue Thin" charset="0"/>
          </a:endParaRPr>
        </a:p>
      </dsp:txBody>
      <dsp:txXfrm>
        <a:off x="2583648" y="11294"/>
        <a:ext cx="1076357" cy="363025"/>
      </dsp:txXfrm>
    </dsp:sp>
    <dsp:sp modelId="{D73A2411-5BF3-5048-8FDD-2AA7C8DF38E0}">
      <dsp:nvSpPr>
        <dsp:cNvPr id="0" name=""/>
        <dsp:cNvSpPr/>
      </dsp:nvSpPr>
      <dsp:spPr>
        <a:xfrm>
          <a:off x="3855922"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Flume</a:t>
          </a:r>
          <a:endParaRPr lang="en-US" sz="1200" b="0" i="0" kern="1200" dirty="0">
            <a:latin typeface="Helvetica Neue Thin" charset="0"/>
            <a:ea typeface="Helvetica Neue Thin" charset="0"/>
            <a:cs typeface="Helvetica Neue Thin" charset="0"/>
          </a:endParaRPr>
        </a:p>
      </dsp:txBody>
      <dsp:txXfrm>
        <a:off x="3867216" y="11294"/>
        <a:ext cx="1076357" cy="363025"/>
      </dsp:txXfrm>
    </dsp:sp>
    <dsp:sp modelId="{71EFDBA4-FD34-C04D-A343-12FFAAA2219C}">
      <dsp:nvSpPr>
        <dsp:cNvPr id="0" name=""/>
        <dsp:cNvSpPr/>
      </dsp:nvSpPr>
      <dsp:spPr>
        <a:xfrm>
          <a:off x="5139490"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qoop</a:t>
          </a:r>
          <a:endParaRPr lang="en-US" sz="1200" b="0" i="0" kern="1200" dirty="0">
            <a:latin typeface="Helvetica Neue Thin" charset="0"/>
            <a:ea typeface="Helvetica Neue Thin" charset="0"/>
            <a:cs typeface="Helvetica Neue Thin" charset="0"/>
          </a:endParaRPr>
        </a:p>
      </dsp:txBody>
      <dsp:txXfrm>
        <a:off x="5150784" y="11294"/>
        <a:ext cx="1076357" cy="363025"/>
      </dsp:txXfrm>
    </dsp:sp>
    <dsp:sp modelId="{C52D1841-36E2-9D4B-BC9F-A24074B8AAD3}">
      <dsp:nvSpPr>
        <dsp:cNvPr id="0" name=""/>
        <dsp:cNvSpPr/>
      </dsp:nvSpPr>
      <dsp:spPr>
        <a:xfrm>
          <a:off x="6423057" y="0"/>
          <a:ext cx="109894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olr / Lucene</a:t>
          </a:r>
          <a:endParaRPr lang="en-US" sz="1200" b="0" i="0" kern="1200" dirty="0">
            <a:latin typeface="Helvetica Neue Thin" charset="0"/>
            <a:ea typeface="Helvetica Neue Thin" charset="0"/>
            <a:cs typeface="Helvetica Neue Thin" charset="0"/>
          </a:endParaRPr>
        </a:p>
      </dsp:txBody>
      <dsp:txXfrm>
        <a:off x="6434351" y="11294"/>
        <a:ext cx="1076357" cy="36302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6766C-2B5D-4D09-90DF-385E36E6C57D}">
      <dsp:nvSpPr>
        <dsp:cNvPr id="0" name=""/>
        <dsp:cNvSpPr/>
      </dsp:nvSpPr>
      <dsp:spPr>
        <a:xfrm>
          <a:off x="270994" y="0"/>
          <a:ext cx="3071275" cy="119814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04D84C-DEDF-4E9D-BE73-5643666E8F40}">
      <dsp:nvSpPr>
        <dsp:cNvPr id="0" name=""/>
        <dsp:cNvSpPr/>
      </dsp:nvSpPr>
      <dsp:spPr>
        <a:xfrm>
          <a:off x="44" y="359442"/>
          <a:ext cx="1762525"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Emerging Technology</a:t>
          </a:r>
          <a:endParaRPr lang="en-US" sz="1300" kern="1200" dirty="0"/>
        </a:p>
      </dsp:txBody>
      <dsp:txXfrm>
        <a:off x="23439" y="382837"/>
        <a:ext cx="1715735" cy="432466"/>
      </dsp:txXfrm>
    </dsp:sp>
    <dsp:sp modelId="{BBC9E803-8988-45AA-85F7-D9343FC7AEE5}">
      <dsp:nvSpPr>
        <dsp:cNvPr id="0" name=""/>
        <dsp:cNvSpPr/>
      </dsp:nvSpPr>
      <dsp:spPr>
        <a:xfrm>
          <a:off x="1850695" y="359442"/>
          <a:ext cx="1762525"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kern="1200" dirty="0" smtClean="0"/>
            <a:t>Board room</a:t>
          </a:r>
          <a:endParaRPr lang="en-US" sz="1300" kern="1200" dirty="0"/>
        </a:p>
      </dsp:txBody>
      <dsp:txXfrm>
        <a:off x="1874090" y="382837"/>
        <a:ext cx="1715735" cy="43246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Sheets</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 SQL</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1123" y="0"/>
          <a:ext cx="1816284" cy="385613"/>
        </a:xfrm>
        <a:prstGeom prst="roundRect">
          <a:avLst>
            <a:gd name="adj" fmla="val 10000"/>
          </a:avLst>
        </a:prstGeom>
        <a:solidFill>
          <a:srgbClr val="BF0A1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chine Learning, </a:t>
          </a:r>
          <a:br>
            <a:rPr lang="en-US" sz="1200" b="0" i="0" kern="1200" dirty="0" smtClean="0">
              <a:latin typeface="Helvetica Neue Light" charset="0"/>
              <a:ea typeface="Helvetica Neue Light" charset="0"/>
              <a:cs typeface="Helvetica Neue Light" charset="0"/>
            </a:rPr>
          </a:br>
          <a:r>
            <a:rPr lang="en-US" sz="1200" b="0" i="0" kern="1200" dirty="0" smtClean="0">
              <a:latin typeface="Helvetica Neue Light" charset="0"/>
              <a:ea typeface="Helvetica Neue Light" charset="0"/>
              <a:cs typeface="Helvetica Neue Light" charset="0"/>
            </a:rPr>
            <a:t>Text Analytics</a:t>
          </a:r>
          <a:endParaRPr lang="en-US" sz="1200" b="0" i="0" kern="1200" dirty="0">
            <a:latin typeface="Helvetica Neue Light" charset="0"/>
            <a:ea typeface="Helvetica Neue Light" charset="0"/>
            <a:cs typeface="Helvetica Neue Light" charset="0"/>
          </a:endParaRPr>
        </a:p>
      </dsp:txBody>
      <dsp:txXfrm>
        <a:off x="12417" y="11294"/>
        <a:ext cx="1793696" cy="363025"/>
      </dsp:txXfrm>
    </dsp:sp>
    <dsp:sp modelId="{6A6AC99F-0DD6-2B4E-90B9-8D4EF6A8608F}">
      <dsp:nvSpPr>
        <dsp:cNvPr id="0" name=""/>
        <dsp:cNvSpPr/>
      </dsp:nvSpPr>
      <dsp:spPr>
        <a:xfrm>
          <a:off x="2076179" y="0"/>
          <a:ext cx="524813"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087473" y="11294"/>
        <a:ext cx="502225" cy="363025"/>
      </dsp:txXfrm>
    </dsp:sp>
    <dsp:sp modelId="{97B909D6-A9F8-ED48-8A1A-010B75477D74}">
      <dsp:nvSpPr>
        <dsp:cNvPr id="0" name=""/>
        <dsp:cNvSpPr/>
      </dsp:nvSpPr>
      <dsp:spPr>
        <a:xfrm>
          <a:off x="2859764" y="0"/>
          <a:ext cx="562335"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871058" y="11294"/>
        <a:ext cx="539747" cy="363025"/>
      </dsp:txXfrm>
    </dsp:sp>
    <dsp:sp modelId="{A97B6EE3-C913-9249-9BB0-F869F56702F9}">
      <dsp:nvSpPr>
        <dsp:cNvPr id="0" name=""/>
        <dsp:cNvSpPr/>
      </dsp:nvSpPr>
      <dsp:spPr>
        <a:xfrm>
          <a:off x="3680871" y="0"/>
          <a:ext cx="56233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692165" y="11294"/>
        <a:ext cx="539747" cy="363025"/>
      </dsp:txXfrm>
    </dsp:sp>
    <dsp:sp modelId="{027D962D-2EA5-464F-827D-5FE1D8B618A1}">
      <dsp:nvSpPr>
        <dsp:cNvPr id="0" name=""/>
        <dsp:cNvSpPr/>
      </dsp:nvSpPr>
      <dsp:spPr>
        <a:xfrm>
          <a:off x="4501978"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513272" y="11294"/>
        <a:ext cx="539747" cy="363025"/>
      </dsp:txXfrm>
    </dsp:sp>
    <dsp:sp modelId="{D73A2411-5BF3-5048-8FDD-2AA7C8DF38E0}">
      <dsp:nvSpPr>
        <dsp:cNvPr id="0" name=""/>
        <dsp:cNvSpPr/>
      </dsp:nvSpPr>
      <dsp:spPr>
        <a:xfrm>
          <a:off x="5323086"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334380" y="11294"/>
        <a:ext cx="539747" cy="363025"/>
      </dsp:txXfrm>
    </dsp:sp>
    <dsp:sp modelId="{71EFDBA4-FD34-C04D-A343-12FFAAA2219C}">
      <dsp:nvSpPr>
        <dsp:cNvPr id="0" name=""/>
        <dsp:cNvSpPr/>
      </dsp:nvSpPr>
      <dsp:spPr>
        <a:xfrm>
          <a:off x="6144193"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155487" y="11294"/>
        <a:ext cx="539747" cy="363025"/>
      </dsp:txXfrm>
    </dsp:sp>
    <dsp:sp modelId="{C52D1841-36E2-9D4B-BC9F-A24074B8AAD3}">
      <dsp:nvSpPr>
        <dsp:cNvPr id="0" name=""/>
        <dsp:cNvSpPr/>
      </dsp:nvSpPr>
      <dsp:spPr>
        <a:xfrm>
          <a:off x="6965300"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976594" y="11294"/>
        <a:ext cx="539747" cy="363025"/>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1123" y="0"/>
          <a:ext cx="1816284" cy="385613"/>
        </a:xfrm>
        <a:prstGeom prst="roundRect">
          <a:avLst>
            <a:gd name="adj" fmla="val 10000"/>
          </a:avLst>
        </a:prstGeom>
        <a:solidFill>
          <a:srgbClr val="BF0A1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 R</a:t>
          </a:r>
          <a:endParaRPr lang="en-US" sz="1200" b="0" i="0" kern="1200" dirty="0">
            <a:latin typeface="Helvetica Neue Light" charset="0"/>
            <a:ea typeface="Helvetica Neue Light" charset="0"/>
            <a:cs typeface="Helvetica Neue Light" charset="0"/>
          </a:endParaRPr>
        </a:p>
      </dsp:txBody>
      <dsp:txXfrm>
        <a:off x="12417" y="11294"/>
        <a:ext cx="1793696" cy="363025"/>
      </dsp:txXfrm>
    </dsp:sp>
    <dsp:sp modelId="{6A6AC99F-0DD6-2B4E-90B9-8D4EF6A8608F}">
      <dsp:nvSpPr>
        <dsp:cNvPr id="0" name=""/>
        <dsp:cNvSpPr/>
      </dsp:nvSpPr>
      <dsp:spPr>
        <a:xfrm>
          <a:off x="2076179" y="0"/>
          <a:ext cx="524813"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087473" y="11294"/>
        <a:ext cx="502225" cy="363025"/>
      </dsp:txXfrm>
    </dsp:sp>
    <dsp:sp modelId="{97B909D6-A9F8-ED48-8A1A-010B75477D74}">
      <dsp:nvSpPr>
        <dsp:cNvPr id="0" name=""/>
        <dsp:cNvSpPr/>
      </dsp:nvSpPr>
      <dsp:spPr>
        <a:xfrm>
          <a:off x="2859764" y="0"/>
          <a:ext cx="562335" cy="385613"/>
        </a:xfrm>
        <a:prstGeom prst="roundRect">
          <a:avLst>
            <a:gd name="adj" fmla="val 10000"/>
          </a:avLst>
        </a:prstGeom>
        <a:solidFill>
          <a:srgbClr val="EB781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871058" y="11294"/>
        <a:ext cx="539747" cy="363025"/>
      </dsp:txXfrm>
    </dsp:sp>
    <dsp:sp modelId="{A97B6EE3-C913-9249-9BB0-F869F56702F9}">
      <dsp:nvSpPr>
        <dsp:cNvPr id="0" name=""/>
        <dsp:cNvSpPr/>
      </dsp:nvSpPr>
      <dsp:spPr>
        <a:xfrm>
          <a:off x="3680871" y="0"/>
          <a:ext cx="562335" cy="385613"/>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692165" y="11294"/>
        <a:ext cx="539747" cy="363025"/>
      </dsp:txXfrm>
    </dsp:sp>
    <dsp:sp modelId="{027D962D-2EA5-464F-827D-5FE1D8B618A1}">
      <dsp:nvSpPr>
        <dsp:cNvPr id="0" name=""/>
        <dsp:cNvSpPr/>
      </dsp:nvSpPr>
      <dsp:spPr>
        <a:xfrm>
          <a:off x="4501978"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513272" y="11294"/>
        <a:ext cx="539747" cy="363025"/>
      </dsp:txXfrm>
    </dsp:sp>
    <dsp:sp modelId="{D73A2411-5BF3-5048-8FDD-2AA7C8DF38E0}">
      <dsp:nvSpPr>
        <dsp:cNvPr id="0" name=""/>
        <dsp:cNvSpPr/>
      </dsp:nvSpPr>
      <dsp:spPr>
        <a:xfrm>
          <a:off x="5323086"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334380" y="11294"/>
        <a:ext cx="539747" cy="363025"/>
      </dsp:txXfrm>
    </dsp:sp>
    <dsp:sp modelId="{71EFDBA4-FD34-C04D-A343-12FFAAA2219C}">
      <dsp:nvSpPr>
        <dsp:cNvPr id="0" name=""/>
        <dsp:cNvSpPr/>
      </dsp:nvSpPr>
      <dsp:spPr>
        <a:xfrm>
          <a:off x="6144193"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155487" y="11294"/>
        <a:ext cx="539747" cy="363025"/>
      </dsp:txXfrm>
    </dsp:sp>
    <dsp:sp modelId="{C52D1841-36E2-9D4B-BC9F-A24074B8AAD3}">
      <dsp:nvSpPr>
        <dsp:cNvPr id="0" name=""/>
        <dsp:cNvSpPr/>
      </dsp:nvSpPr>
      <dsp:spPr>
        <a:xfrm>
          <a:off x="6965300" y="0"/>
          <a:ext cx="562335" cy="3856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976594" y="11294"/>
        <a:ext cx="539747" cy="363025"/>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Sheets</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2281" y="0"/>
          <a:ext cx="1792124" cy="3856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 SQL</a:t>
          </a:r>
          <a:endParaRPr lang="en-US" sz="1200" b="0" i="0" kern="1200" dirty="0">
            <a:latin typeface="Helvetica Neue Light" charset="0"/>
            <a:ea typeface="Helvetica Neue Light" charset="0"/>
            <a:cs typeface="Helvetica Neue Light" charset="0"/>
          </a:endParaRPr>
        </a:p>
      </dsp:txBody>
      <dsp:txXfrm>
        <a:off x="13575" y="11294"/>
        <a:ext cx="1769536" cy="363025"/>
      </dsp:txXfrm>
    </dsp:sp>
    <dsp:sp modelId="{97B909D6-A9F8-ED48-8A1A-010B75477D74}">
      <dsp:nvSpPr>
        <dsp:cNvPr id="0" name=""/>
        <dsp:cNvSpPr/>
      </dsp:nvSpPr>
      <dsp:spPr>
        <a:xfrm>
          <a:off x="2095481"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106775" y="11294"/>
        <a:ext cx="631680" cy="363025"/>
      </dsp:txXfrm>
    </dsp:sp>
    <dsp:sp modelId="{A97B6EE3-C913-9249-9BB0-F869F56702F9}">
      <dsp:nvSpPr>
        <dsp:cNvPr id="0" name=""/>
        <dsp:cNvSpPr/>
      </dsp:nvSpPr>
      <dsp:spPr>
        <a:xfrm>
          <a:off x="3050827"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062121" y="11294"/>
        <a:ext cx="631680" cy="363025"/>
      </dsp:txXfrm>
    </dsp:sp>
    <dsp:sp modelId="{027D962D-2EA5-464F-827D-5FE1D8B618A1}">
      <dsp:nvSpPr>
        <dsp:cNvPr id="0" name=""/>
        <dsp:cNvSpPr/>
      </dsp:nvSpPr>
      <dsp:spPr>
        <a:xfrm>
          <a:off x="4006172"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017466" y="11294"/>
        <a:ext cx="631680" cy="363025"/>
      </dsp:txXfrm>
    </dsp:sp>
    <dsp:sp modelId="{D73A2411-5BF3-5048-8FDD-2AA7C8DF38E0}">
      <dsp:nvSpPr>
        <dsp:cNvPr id="0" name=""/>
        <dsp:cNvSpPr/>
      </dsp:nvSpPr>
      <dsp:spPr>
        <a:xfrm>
          <a:off x="4961518"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972812" y="11294"/>
        <a:ext cx="631680" cy="363025"/>
      </dsp:txXfrm>
    </dsp:sp>
    <dsp:sp modelId="{71EFDBA4-FD34-C04D-A343-12FFAAA2219C}">
      <dsp:nvSpPr>
        <dsp:cNvPr id="0" name=""/>
        <dsp:cNvSpPr/>
      </dsp:nvSpPr>
      <dsp:spPr>
        <a:xfrm>
          <a:off x="5916863"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928157" y="11294"/>
        <a:ext cx="631680" cy="363025"/>
      </dsp:txXfrm>
    </dsp:sp>
    <dsp:sp modelId="{C52D1841-36E2-9D4B-BC9F-A24074B8AAD3}">
      <dsp:nvSpPr>
        <dsp:cNvPr id="0" name=""/>
        <dsp:cNvSpPr/>
      </dsp:nvSpPr>
      <dsp:spPr>
        <a:xfrm>
          <a:off x="6872209" y="0"/>
          <a:ext cx="654268"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883503" y="11294"/>
        <a:ext cx="631680" cy="36302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1123" y="0"/>
          <a:ext cx="1816284" cy="385613"/>
        </a:xfrm>
        <a:prstGeom prst="roundRect">
          <a:avLst>
            <a:gd name="adj" fmla="val 10000"/>
          </a:avLst>
        </a:prstGeom>
        <a:solidFill>
          <a:srgbClr val="BF0A1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chine Learning, </a:t>
          </a:r>
          <a:br>
            <a:rPr lang="en-US" sz="1200" b="0" i="0" kern="1200" dirty="0" smtClean="0">
              <a:latin typeface="Helvetica Neue Light" charset="0"/>
              <a:ea typeface="Helvetica Neue Light" charset="0"/>
              <a:cs typeface="Helvetica Neue Light" charset="0"/>
            </a:rPr>
          </a:br>
          <a:r>
            <a:rPr lang="en-US" sz="1200" b="0" i="0" kern="1200" dirty="0" smtClean="0">
              <a:latin typeface="Helvetica Neue Light" charset="0"/>
              <a:ea typeface="Helvetica Neue Light" charset="0"/>
              <a:cs typeface="Helvetica Neue Light" charset="0"/>
            </a:rPr>
            <a:t>Text Analytics</a:t>
          </a:r>
          <a:endParaRPr lang="en-US" sz="1200" b="0" i="0" kern="1200" dirty="0">
            <a:latin typeface="Helvetica Neue Light" charset="0"/>
            <a:ea typeface="Helvetica Neue Light" charset="0"/>
            <a:cs typeface="Helvetica Neue Light" charset="0"/>
          </a:endParaRPr>
        </a:p>
      </dsp:txBody>
      <dsp:txXfrm>
        <a:off x="12417" y="11294"/>
        <a:ext cx="1793696" cy="363025"/>
      </dsp:txXfrm>
    </dsp:sp>
    <dsp:sp modelId="{6A6AC99F-0DD6-2B4E-90B9-8D4EF6A8608F}">
      <dsp:nvSpPr>
        <dsp:cNvPr id="0" name=""/>
        <dsp:cNvSpPr/>
      </dsp:nvSpPr>
      <dsp:spPr>
        <a:xfrm>
          <a:off x="2076179" y="0"/>
          <a:ext cx="524813"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087473" y="11294"/>
        <a:ext cx="502225" cy="363025"/>
      </dsp:txXfrm>
    </dsp:sp>
    <dsp:sp modelId="{97B909D6-A9F8-ED48-8A1A-010B75477D74}">
      <dsp:nvSpPr>
        <dsp:cNvPr id="0" name=""/>
        <dsp:cNvSpPr/>
      </dsp:nvSpPr>
      <dsp:spPr>
        <a:xfrm>
          <a:off x="2859764"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871058" y="11294"/>
        <a:ext cx="539747" cy="363025"/>
      </dsp:txXfrm>
    </dsp:sp>
    <dsp:sp modelId="{A97B6EE3-C913-9249-9BB0-F869F56702F9}">
      <dsp:nvSpPr>
        <dsp:cNvPr id="0" name=""/>
        <dsp:cNvSpPr/>
      </dsp:nvSpPr>
      <dsp:spPr>
        <a:xfrm>
          <a:off x="3680871"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692165" y="11294"/>
        <a:ext cx="539747" cy="363025"/>
      </dsp:txXfrm>
    </dsp:sp>
    <dsp:sp modelId="{027D962D-2EA5-464F-827D-5FE1D8B618A1}">
      <dsp:nvSpPr>
        <dsp:cNvPr id="0" name=""/>
        <dsp:cNvSpPr/>
      </dsp:nvSpPr>
      <dsp:spPr>
        <a:xfrm>
          <a:off x="4501978"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513272" y="11294"/>
        <a:ext cx="539747" cy="363025"/>
      </dsp:txXfrm>
    </dsp:sp>
    <dsp:sp modelId="{D73A2411-5BF3-5048-8FDD-2AA7C8DF38E0}">
      <dsp:nvSpPr>
        <dsp:cNvPr id="0" name=""/>
        <dsp:cNvSpPr/>
      </dsp:nvSpPr>
      <dsp:spPr>
        <a:xfrm>
          <a:off x="5323086"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334380" y="11294"/>
        <a:ext cx="539747" cy="363025"/>
      </dsp:txXfrm>
    </dsp:sp>
    <dsp:sp modelId="{71EFDBA4-FD34-C04D-A343-12FFAAA2219C}">
      <dsp:nvSpPr>
        <dsp:cNvPr id="0" name=""/>
        <dsp:cNvSpPr/>
      </dsp:nvSpPr>
      <dsp:spPr>
        <a:xfrm>
          <a:off x="6144193"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155487" y="11294"/>
        <a:ext cx="539747" cy="363025"/>
      </dsp:txXfrm>
    </dsp:sp>
    <dsp:sp modelId="{C52D1841-36E2-9D4B-BC9F-A24074B8AAD3}">
      <dsp:nvSpPr>
        <dsp:cNvPr id="0" name=""/>
        <dsp:cNvSpPr/>
      </dsp:nvSpPr>
      <dsp:spPr>
        <a:xfrm>
          <a:off x="6965300"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976594" y="11294"/>
        <a:ext cx="539747" cy="36302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D6766C-2B5D-4D09-90DF-385E36E6C57D}">
      <dsp:nvSpPr>
        <dsp:cNvPr id="0" name=""/>
        <dsp:cNvSpPr/>
      </dsp:nvSpPr>
      <dsp:spPr>
        <a:xfrm>
          <a:off x="270994" y="0"/>
          <a:ext cx="3071275" cy="1198141"/>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04D84C-DEDF-4E9D-BE73-5643666E8F40}">
      <dsp:nvSpPr>
        <dsp:cNvPr id="0" name=""/>
        <dsp:cNvSpPr/>
      </dsp:nvSpPr>
      <dsp:spPr>
        <a:xfrm>
          <a:off x="1808" y="359442"/>
          <a:ext cx="1760760"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Open Source </a:t>
          </a:r>
          <a:endParaRPr lang="en-US" sz="1400" kern="1200" dirty="0"/>
        </a:p>
      </dsp:txBody>
      <dsp:txXfrm>
        <a:off x="25203" y="382837"/>
        <a:ext cx="1713970" cy="432466"/>
      </dsp:txXfrm>
    </dsp:sp>
    <dsp:sp modelId="{BBC9E803-8988-45AA-85F7-D9343FC7AEE5}">
      <dsp:nvSpPr>
        <dsp:cNvPr id="0" name=""/>
        <dsp:cNvSpPr/>
      </dsp:nvSpPr>
      <dsp:spPr>
        <a:xfrm>
          <a:off x="1850695" y="359442"/>
          <a:ext cx="1760760" cy="47925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smtClean="0"/>
            <a:t>Consistent Platform</a:t>
          </a:r>
          <a:endParaRPr lang="en-US" sz="1400" kern="1200" dirty="0"/>
        </a:p>
      </dsp:txBody>
      <dsp:txXfrm>
        <a:off x="1874090" y="382837"/>
        <a:ext cx="1713970" cy="43246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1123" y="0"/>
          <a:ext cx="1816284" cy="385613"/>
        </a:xfrm>
        <a:prstGeom prst="roundRect">
          <a:avLst>
            <a:gd name="adj" fmla="val 10000"/>
          </a:avLst>
        </a:prstGeom>
        <a:solidFill>
          <a:srgbClr val="BF0A1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Big R</a:t>
          </a:r>
          <a:endParaRPr lang="en-US" sz="1200" b="0" i="0" kern="1200" dirty="0">
            <a:latin typeface="Helvetica Neue Light" charset="0"/>
            <a:ea typeface="Helvetica Neue Light" charset="0"/>
            <a:cs typeface="Helvetica Neue Light" charset="0"/>
          </a:endParaRPr>
        </a:p>
      </dsp:txBody>
      <dsp:txXfrm>
        <a:off x="12417" y="11294"/>
        <a:ext cx="1793696" cy="363025"/>
      </dsp:txXfrm>
    </dsp:sp>
    <dsp:sp modelId="{6A6AC99F-0DD6-2B4E-90B9-8D4EF6A8608F}">
      <dsp:nvSpPr>
        <dsp:cNvPr id="0" name=""/>
        <dsp:cNvSpPr/>
      </dsp:nvSpPr>
      <dsp:spPr>
        <a:xfrm>
          <a:off x="2076179" y="0"/>
          <a:ext cx="524813"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087473" y="11294"/>
        <a:ext cx="502225" cy="363025"/>
      </dsp:txXfrm>
    </dsp:sp>
    <dsp:sp modelId="{97B909D6-A9F8-ED48-8A1A-010B75477D74}">
      <dsp:nvSpPr>
        <dsp:cNvPr id="0" name=""/>
        <dsp:cNvSpPr/>
      </dsp:nvSpPr>
      <dsp:spPr>
        <a:xfrm>
          <a:off x="2859764"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ctr" defTabSz="755650">
            <a:lnSpc>
              <a:spcPct val="90000"/>
            </a:lnSpc>
            <a:spcBef>
              <a:spcPct val="0"/>
            </a:spcBef>
            <a:spcAft>
              <a:spcPct val="35000"/>
            </a:spcAft>
          </a:pPr>
          <a:endParaRPr lang="en-US" sz="1700" kern="1200" dirty="0"/>
        </a:p>
      </dsp:txBody>
      <dsp:txXfrm>
        <a:off x="2871058" y="11294"/>
        <a:ext cx="539747" cy="363025"/>
      </dsp:txXfrm>
    </dsp:sp>
    <dsp:sp modelId="{A97B6EE3-C913-9249-9BB0-F869F56702F9}">
      <dsp:nvSpPr>
        <dsp:cNvPr id="0" name=""/>
        <dsp:cNvSpPr/>
      </dsp:nvSpPr>
      <dsp:spPr>
        <a:xfrm>
          <a:off x="3680871"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3692165" y="11294"/>
        <a:ext cx="539747" cy="363025"/>
      </dsp:txXfrm>
    </dsp:sp>
    <dsp:sp modelId="{027D962D-2EA5-464F-827D-5FE1D8B618A1}">
      <dsp:nvSpPr>
        <dsp:cNvPr id="0" name=""/>
        <dsp:cNvSpPr/>
      </dsp:nvSpPr>
      <dsp:spPr>
        <a:xfrm>
          <a:off x="4501978"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4513272" y="11294"/>
        <a:ext cx="539747" cy="363025"/>
      </dsp:txXfrm>
    </dsp:sp>
    <dsp:sp modelId="{D73A2411-5BF3-5048-8FDD-2AA7C8DF38E0}">
      <dsp:nvSpPr>
        <dsp:cNvPr id="0" name=""/>
        <dsp:cNvSpPr/>
      </dsp:nvSpPr>
      <dsp:spPr>
        <a:xfrm>
          <a:off x="5323086"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5334380" y="11294"/>
        <a:ext cx="539747" cy="363025"/>
      </dsp:txXfrm>
    </dsp:sp>
    <dsp:sp modelId="{71EFDBA4-FD34-C04D-A343-12FFAAA2219C}">
      <dsp:nvSpPr>
        <dsp:cNvPr id="0" name=""/>
        <dsp:cNvSpPr/>
      </dsp:nvSpPr>
      <dsp:spPr>
        <a:xfrm>
          <a:off x="6144193"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155487" y="11294"/>
        <a:ext cx="539747" cy="363025"/>
      </dsp:txXfrm>
    </dsp:sp>
    <dsp:sp modelId="{C52D1841-36E2-9D4B-BC9F-A24074B8AAD3}">
      <dsp:nvSpPr>
        <dsp:cNvPr id="0" name=""/>
        <dsp:cNvSpPr/>
      </dsp:nvSpPr>
      <dsp:spPr>
        <a:xfrm>
          <a:off x="6965300" y="0"/>
          <a:ext cx="562335" cy="385613"/>
        </a:xfrm>
        <a:prstGeom prst="roundRect">
          <a:avLst>
            <a:gd name="adj" fmla="val 10000"/>
          </a:avLst>
        </a:prstGeom>
        <a:solidFill>
          <a:schemeClr val="bg1">
            <a:lumMod val="8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endParaRPr lang="en-US" sz="1200" b="0" i="0" kern="1200" dirty="0">
            <a:latin typeface="Helvetica Neue Light" charset="0"/>
            <a:ea typeface="Helvetica Neue Light" charset="0"/>
            <a:cs typeface="Helvetica Neue Light" charset="0"/>
          </a:endParaRPr>
        </a:p>
      </dsp:txBody>
      <dsp:txXfrm>
        <a:off x="6976594" y="11294"/>
        <a:ext cx="539747" cy="36302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4789"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DFS</a:t>
          </a:r>
          <a:endParaRPr lang="en-US" sz="1200" b="0" i="0" kern="1200" dirty="0">
            <a:latin typeface="Helvetica Neue Light" charset="0"/>
            <a:ea typeface="Helvetica Neue Light" charset="0"/>
            <a:cs typeface="Helvetica Neue Light" charset="0"/>
          </a:endParaRPr>
        </a:p>
      </dsp:txBody>
      <dsp:txXfrm>
        <a:off x="26875" y="22086"/>
        <a:ext cx="964361" cy="709894"/>
      </dsp:txXfrm>
    </dsp:sp>
    <dsp:sp modelId="{A97B6EE3-C913-9249-9BB0-F869F56702F9}">
      <dsp:nvSpPr>
        <dsp:cNvPr id="0" name=""/>
        <dsp:cNvSpPr/>
      </dsp:nvSpPr>
      <dsp:spPr>
        <a:xfrm>
          <a:off x="1182756"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pReduce</a:t>
          </a:r>
          <a:endParaRPr lang="en-US" sz="1200" b="0" i="0" kern="1200" dirty="0">
            <a:latin typeface="Helvetica Neue Light" charset="0"/>
            <a:ea typeface="Helvetica Neue Light" charset="0"/>
            <a:cs typeface="Helvetica Neue Light" charset="0"/>
          </a:endParaRPr>
        </a:p>
      </dsp:txBody>
      <dsp:txXfrm>
        <a:off x="1204842" y="22086"/>
        <a:ext cx="964361" cy="709894"/>
      </dsp:txXfrm>
    </dsp:sp>
    <dsp:sp modelId="{027D962D-2EA5-464F-827D-5FE1D8B618A1}">
      <dsp:nvSpPr>
        <dsp:cNvPr id="0" name=""/>
        <dsp:cNvSpPr/>
      </dsp:nvSpPr>
      <dsp:spPr>
        <a:xfrm>
          <a:off x="2360724"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Spark</a:t>
          </a:r>
          <a:endParaRPr lang="en-US" sz="1200" b="0" i="0" kern="1200" dirty="0">
            <a:latin typeface="Helvetica Neue Light" charset="0"/>
            <a:ea typeface="Helvetica Neue Light" charset="0"/>
            <a:cs typeface="Helvetica Neue Light" charset="0"/>
          </a:endParaRPr>
        </a:p>
      </dsp:txBody>
      <dsp:txXfrm>
        <a:off x="2382810" y="22086"/>
        <a:ext cx="964361" cy="709894"/>
      </dsp:txXfrm>
    </dsp:sp>
    <dsp:sp modelId="{D73A2411-5BF3-5048-8FDD-2AA7C8DF38E0}">
      <dsp:nvSpPr>
        <dsp:cNvPr id="0" name=""/>
        <dsp:cNvSpPr/>
      </dsp:nvSpPr>
      <dsp:spPr>
        <a:xfrm>
          <a:off x="3538691"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ive</a:t>
          </a:r>
          <a:endParaRPr lang="en-US" sz="1200" b="0" i="0" kern="1200" dirty="0">
            <a:latin typeface="Helvetica Neue Light" charset="0"/>
            <a:ea typeface="Helvetica Neue Light" charset="0"/>
            <a:cs typeface="Helvetica Neue Light" charset="0"/>
          </a:endParaRPr>
        </a:p>
      </dsp:txBody>
      <dsp:txXfrm>
        <a:off x="3560777" y="22086"/>
        <a:ext cx="964361" cy="709894"/>
      </dsp:txXfrm>
    </dsp:sp>
    <dsp:sp modelId="{71EFDBA4-FD34-C04D-A343-12FFAAA2219C}">
      <dsp:nvSpPr>
        <dsp:cNvPr id="0" name=""/>
        <dsp:cNvSpPr/>
      </dsp:nvSpPr>
      <dsp:spPr>
        <a:xfrm>
          <a:off x="4716658"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Catalog</a:t>
          </a:r>
          <a:endParaRPr lang="en-US" sz="1200" b="0" i="0" kern="1200" dirty="0">
            <a:latin typeface="Helvetica Neue Light" charset="0"/>
            <a:ea typeface="Helvetica Neue Light" charset="0"/>
            <a:cs typeface="Helvetica Neue Light" charset="0"/>
          </a:endParaRPr>
        </a:p>
      </dsp:txBody>
      <dsp:txXfrm>
        <a:off x="4738744" y="22086"/>
        <a:ext cx="964361" cy="709894"/>
      </dsp:txXfrm>
    </dsp:sp>
    <dsp:sp modelId="{C52D1841-36E2-9D4B-BC9F-A24074B8AAD3}">
      <dsp:nvSpPr>
        <dsp:cNvPr id="0" name=""/>
        <dsp:cNvSpPr/>
      </dsp:nvSpPr>
      <dsp:spPr>
        <a:xfrm>
          <a:off x="5894625"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Pig</a:t>
          </a:r>
          <a:endParaRPr lang="en-US" sz="1200" b="0" i="0" kern="1200" dirty="0">
            <a:latin typeface="Helvetica Neue Light" charset="0"/>
            <a:ea typeface="Helvetica Neue Light" charset="0"/>
            <a:cs typeface="Helvetica Neue Light" charset="0"/>
          </a:endParaRPr>
        </a:p>
      </dsp:txBody>
      <dsp:txXfrm>
        <a:off x="5916711" y="22086"/>
        <a:ext cx="964361" cy="70989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4789"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YARN</a:t>
          </a:r>
          <a:endParaRPr lang="en-US" sz="1200" b="0" i="0" kern="1200" dirty="0">
            <a:latin typeface="Helvetica Neue Thin" charset="0"/>
            <a:ea typeface="Helvetica Neue Thin" charset="0"/>
            <a:cs typeface="Helvetica Neue Thin" charset="0"/>
          </a:endParaRPr>
        </a:p>
      </dsp:txBody>
      <dsp:txXfrm>
        <a:off x="26875" y="22086"/>
        <a:ext cx="964361" cy="709894"/>
      </dsp:txXfrm>
    </dsp:sp>
    <dsp:sp modelId="{A97B6EE3-C913-9249-9BB0-F869F56702F9}">
      <dsp:nvSpPr>
        <dsp:cNvPr id="0" name=""/>
        <dsp:cNvSpPr/>
      </dsp:nvSpPr>
      <dsp:spPr>
        <a:xfrm>
          <a:off x="1182756"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Ambari</a:t>
          </a:r>
          <a:endParaRPr lang="en-US" sz="1200" b="0" i="0" kern="1200" dirty="0">
            <a:latin typeface="Helvetica Neue Thin" charset="0"/>
            <a:ea typeface="Helvetica Neue Thin" charset="0"/>
            <a:cs typeface="Helvetica Neue Thin" charset="0"/>
          </a:endParaRPr>
        </a:p>
      </dsp:txBody>
      <dsp:txXfrm>
        <a:off x="1204842" y="22086"/>
        <a:ext cx="964361" cy="709894"/>
      </dsp:txXfrm>
    </dsp:sp>
    <dsp:sp modelId="{027D962D-2EA5-464F-827D-5FE1D8B618A1}">
      <dsp:nvSpPr>
        <dsp:cNvPr id="0" name=""/>
        <dsp:cNvSpPr/>
      </dsp:nvSpPr>
      <dsp:spPr>
        <a:xfrm>
          <a:off x="2360724"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HBase</a:t>
          </a:r>
          <a:endParaRPr lang="en-US" sz="1200" b="0" i="0" kern="1200" dirty="0">
            <a:latin typeface="Helvetica Neue Thin" charset="0"/>
            <a:ea typeface="Helvetica Neue Thin" charset="0"/>
            <a:cs typeface="Helvetica Neue Thin" charset="0"/>
          </a:endParaRPr>
        </a:p>
      </dsp:txBody>
      <dsp:txXfrm>
        <a:off x="2382810" y="22086"/>
        <a:ext cx="964361" cy="709894"/>
      </dsp:txXfrm>
    </dsp:sp>
    <dsp:sp modelId="{D73A2411-5BF3-5048-8FDD-2AA7C8DF38E0}">
      <dsp:nvSpPr>
        <dsp:cNvPr id="0" name=""/>
        <dsp:cNvSpPr/>
      </dsp:nvSpPr>
      <dsp:spPr>
        <a:xfrm>
          <a:off x="3538691"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Flume</a:t>
          </a:r>
          <a:endParaRPr lang="en-US" sz="1200" b="0" i="0" kern="1200" dirty="0">
            <a:latin typeface="Helvetica Neue Thin" charset="0"/>
            <a:ea typeface="Helvetica Neue Thin" charset="0"/>
            <a:cs typeface="Helvetica Neue Thin" charset="0"/>
          </a:endParaRPr>
        </a:p>
      </dsp:txBody>
      <dsp:txXfrm>
        <a:off x="3560777" y="22086"/>
        <a:ext cx="964361" cy="709894"/>
      </dsp:txXfrm>
    </dsp:sp>
    <dsp:sp modelId="{71EFDBA4-FD34-C04D-A343-12FFAAA2219C}">
      <dsp:nvSpPr>
        <dsp:cNvPr id="0" name=""/>
        <dsp:cNvSpPr/>
      </dsp:nvSpPr>
      <dsp:spPr>
        <a:xfrm>
          <a:off x="4716658"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qoop</a:t>
          </a:r>
          <a:endParaRPr lang="en-US" sz="1200" b="0" i="0" kern="1200" dirty="0">
            <a:latin typeface="Helvetica Neue Thin" charset="0"/>
            <a:ea typeface="Helvetica Neue Thin" charset="0"/>
            <a:cs typeface="Helvetica Neue Thin" charset="0"/>
          </a:endParaRPr>
        </a:p>
      </dsp:txBody>
      <dsp:txXfrm>
        <a:off x="4738744" y="22086"/>
        <a:ext cx="964361" cy="709894"/>
      </dsp:txXfrm>
    </dsp:sp>
    <dsp:sp modelId="{C52D1841-36E2-9D4B-BC9F-A24074B8AAD3}">
      <dsp:nvSpPr>
        <dsp:cNvPr id="0" name=""/>
        <dsp:cNvSpPr/>
      </dsp:nvSpPr>
      <dsp:spPr>
        <a:xfrm>
          <a:off x="5894625"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olr / Lucene</a:t>
          </a:r>
          <a:endParaRPr lang="en-US" sz="1200" b="0" i="0" kern="1200" dirty="0">
            <a:latin typeface="Helvetica Neue Thin" charset="0"/>
            <a:ea typeface="Helvetica Neue Thin" charset="0"/>
            <a:cs typeface="Helvetica Neue Thin" charset="0"/>
          </a:endParaRPr>
        </a:p>
      </dsp:txBody>
      <dsp:txXfrm>
        <a:off x="5916711" y="22086"/>
        <a:ext cx="964361" cy="7098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4789" y="0"/>
          <a:ext cx="1008533" cy="754066"/>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DFS</a:t>
          </a:r>
          <a:endParaRPr lang="en-US" sz="1200" b="0" i="0" kern="1200" dirty="0">
            <a:latin typeface="Helvetica Neue Light" charset="0"/>
            <a:ea typeface="Helvetica Neue Light" charset="0"/>
            <a:cs typeface="Helvetica Neue Light" charset="0"/>
          </a:endParaRPr>
        </a:p>
      </dsp:txBody>
      <dsp:txXfrm>
        <a:off x="26875" y="22086"/>
        <a:ext cx="964361" cy="709894"/>
      </dsp:txXfrm>
    </dsp:sp>
    <dsp:sp modelId="{A97B6EE3-C913-9249-9BB0-F869F56702F9}">
      <dsp:nvSpPr>
        <dsp:cNvPr id="0" name=""/>
        <dsp:cNvSpPr/>
      </dsp:nvSpPr>
      <dsp:spPr>
        <a:xfrm>
          <a:off x="1182756" y="0"/>
          <a:ext cx="1008533" cy="754066"/>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MapReduce</a:t>
          </a:r>
          <a:endParaRPr lang="en-US" sz="1200" b="0" i="0" kern="1200" dirty="0">
            <a:latin typeface="Helvetica Neue Light" charset="0"/>
            <a:ea typeface="Helvetica Neue Light" charset="0"/>
            <a:cs typeface="Helvetica Neue Light" charset="0"/>
          </a:endParaRPr>
        </a:p>
      </dsp:txBody>
      <dsp:txXfrm>
        <a:off x="1204842" y="22086"/>
        <a:ext cx="964361" cy="709894"/>
      </dsp:txXfrm>
    </dsp:sp>
    <dsp:sp modelId="{027D962D-2EA5-464F-827D-5FE1D8B618A1}">
      <dsp:nvSpPr>
        <dsp:cNvPr id="0" name=""/>
        <dsp:cNvSpPr/>
      </dsp:nvSpPr>
      <dsp:spPr>
        <a:xfrm>
          <a:off x="2360724"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Spark</a:t>
          </a:r>
          <a:endParaRPr lang="en-US" sz="1200" b="0" i="0" kern="1200" dirty="0">
            <a:latin typeface="Helvetica Neue Light" charset="0"/>
            <a:ea typeface="Helvetica Neue Light" charset="0"/>
            <a:cs typeface="Helvetica Neue Light" charset="0"/>
          </a:endParaRPr>
        </a:p>
      </dsp:txBody>
      <dsp:txXfrm>
        <a:off x="2382810" y="22086"/>
        <a:ext cx="964361" cy="709894"/>
      </dsp:txXfrm>
    </dsp:sp>
    <dsp:sp modelId="{D73A2411-5BF3-5048-8FDD-2AA7C8DF38E0}">
      <dsp:nvSpPr>
        <dsp:cNvPr id="0" name=""/>
        <dsp:cNvSpPr/>
      </dsp:nvSpPr>
      <dsp:spPr>
        <a:xfrm>
          <a:off x="3538691"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ive</a:t>
          </a:r>
          <a:endParaRPr lang="en-US" sz="1200" b="0" i="0" kern="1200" dirty="0">
            <a:latin typeface="Helvetica Neue Light" charset="0"/>
            <a:ea typeface="Helvetica Neue Light" charset="0"/>
            <a:cs typeface="Helvetica Neue Light" charset="0"/>
          </a:endParaRPr>
        </a:p>
      </dsp:txBody>
      <dsp:txXfrm>
        <a:off x="3560777" y="22086"/>
        <a:ext cx="964361" cy="709894"/>
      </dsp:txXfrm>
    </dsp:sp>
    <dsp:sp modelId="{71EFDBA4-FD34-C04D-A343-12FFAAA2219C}">
      <dsp:nvSpPr>
        <dsp:cNvPr id="0" name=""/>
        <dsp:cNvSpPr/>
      </dsp:nvSpPr>
      <dsp:spPr>
        <a:xfrm>
          <a:off x="4716658"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HCatalog</a:t>
          </a:r>
          <a:endParaRPr lang="en-US" sz="1200" b="0" i="0" kern="1200" dirty="0">
            <a:latin typeface="Helvetica Neue Light" charset="0"/>
            <a:ea typeface="Helvetica Neue Light" charset="0"/>
            <a:cs typeface="Helvetica Neue Light" charset="0"/>
          </a:endParaRPr>
        </a:p>
      </dsp:txBody>
      <dsp:txXfrm>
        <a:off x="4738744" y="22086"/>
        <a:ext cx="964361" cy="709894"/>
      </dsp:txXfrm>
    </dsp:sp>
    <dsp:sp modelId="{C52D1841-36E2-9D4B-BC9F-A24074B8AAD3}">
      <dsp:nvSpPr>
        <dsp:cNvPr id="0" name=""/>
        <dsp:cNvSpPr/>
      </dsp:nvSpPr>
      <dsp:spPr>
        <a:xfrm>
          <a:off x="5894625"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Light" charset="0"/>
              <a:ea typeface="Helvetica Neue Light" charset="0"/>
              <a:cs typeface="Helvetica Neue Light" charset="0"/>
            </a:rPr>
            <a:t>Pig</a:t>
          </a:r>
          <a:endParaRPr lang="en-US" sz="1200" b="0" i="0" kern="1200" dirty="0">
            <a:latin typeface="Helvetica Neue Light" charset="0"/>
            <a:ea typeface="Helvetica Neue Light" charset="0"/>
            <a:cs typeface="Helvetica Neue Light" charset="0"/>
          </a:endParaRPr>
        </a:p>
      </dsp:txBody>
      <dsp:txXfrm>
        <a:off x="5916711" y="22086"/>
        <a:ext cx="964361" cy="70989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A9D10-FC52-814C-BC88-3CB8D987E563}">
      <dsp:nvSpPr>
        <dsp:cNvPr id="0" name=""/>
        <dsp:cNvSpPr/>
      </dsp:nvSpPr>
      <dsp:spPr>
        <a:xfrm>
          <a:off x="4789" y="0"/>
          <a:ext cx="1008533" cy="754066"/>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YARN</a:t>
          </a:r>
          <a:endParaRPr lang="en-US" sz="1200" b="0" i="0" kern="1200" dirty="0">
            <a:latin typeface="Helvetica Neue Thin" charset="0"/>
            <a:ea typeface="Helvetica Neue Thin" charset="0"/>
            <a:cs typeface="Helvetica Neue Thin" charset="0"/>
          </a:endParaRPr>
        </a:p>
      </dsp:txBody>
      <dsp:txXfrm>
        <a:off x="26875" y="22086"/>
        <a:ext cx="964361" cy="709894"/>
      </dsp:txXfrm>
    </dsp:sp>
    <dsp:sp modelId="{A97B6EE3-C913-9249-9BB0-F869F56702F9}">
      <dsp:nvSpPr>
        <dsp:cNvPr id="0" name=""/>
        <dsp:cNvSpPr/>
      </dsp:nvSpPr>
      <dsp:spPr>
        <a:xfrm>
          <a:off x="1182756" y="0"/>
          <a:ext cx="1008533" cy="754066"/>
        </a:xfrm>
        <a:prstGeom prst="roundRect">
          <a:avLst>
            <a:gd name="adj" fmla="val 10000"/>
          </a:avLst>
        </a:prstGeom>
        <a:solidFill>
          <a:srgbClr val="EB6D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Ambari</a:t>
          </a:r>
          <a:endParaRPr lang="en-US" sz="1200" b="0" i="0" kern="1200" dirty="0">
            <a:latin typeface="Helvetica Neue Thin" charset="0"/>
            <a:ea typeface="Helvetica Neue Thin" charset="0"/>
            <a:cs typeface="Helvetica Neue Thin" charset="0"/>
          </a:endParaRPr>
        </a:p>
      </dsp:txBody>
      <dsp:txXfrm>
        <a:off x="1204842" y="22086"/>
        <a:ext cx="964361" cy="709894"/>
      </dsp:txXfrm>
    </dsp:sp>
    <dsp:sp modelId="{027D962D-2EA5-464F-827D-5FE1D8B618A1}">
      <dsp:nvSpPr>
        <dsp:cNvPr id="0" name=""/>
        <dsp:cNvSpPr/>
      </dsp:nvSpPr>
      <dsp:spPr>
        <a:xfrm>
          <a:off x="2360724"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HBase</a:t>
          </a:r>
          <a:endParaRPr lang="en-US" sz="1200" b="0" i="0" kern="1200" dirty="0">
            <a:latin typeface="Helvetica Neue Thin" charset="0"/>
            <a:ea typeface="Helvetica Neue Thin" charset="0"/>
            <a:cs typeface="Helvetica Neue Thin" charset="0"/>
          </a:endParaRPr>
        </a:p>
      </dsp:txBody>
      <dsp:txXfrm>
        <a:off x="2382810" y="22086"/>
        <a:ext cx="964361" cy="709894"/>
      </dsp:txXfrm>
    </dsp:sp>
    <dsp:sp modelId="{D73A2411-5BF3-5048-8FDD-2AA7C8DF38E0}">
      <dsp:nvSpPr>
        <dsp:cNvPr id="0" name=""/>
        <dsp:cNvSpPr/>
      </dsp:nvSpPr>
      <dsp:spPr>
        <a:xfrm>
          <a:off x="3538691"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Flume</a:t>
          </a:r>
          <a:endParaRPr lang="en-US" sz="1200" b="0" i="0" kern="1200" dirty="0">
            <a:latin typeface="Helvetica Neue Thin" charset="0"/>
            <a:ea typeface="Helvetica Neue Thin" charset="0"/>
            <a:cs typeface="Helvetica Neue Thin" charset="0"/>
          </a:endParaRPr>
        </a:p>
      </dsp:txBody>
      <dsp:txXfrm>
        <a:off x="3560777" y="22086"/>
        <a:ext cx="964361" cy="709894"/>
      </dsp:txXfrm>
    </dsp:sp>
    <dsp:sp modelId="{71EFDBA4-FD34-C04D-A343-12FFAAA2219C}">
      <dsp:nvSpPr>
        <dsp:cNvPr id="0" name=""/>
        <dsp:cNvSpPr/>
      </dsp:nvSpPr>
      <dsp:spPr>
        <a:xfrm>
          <a:off x="4716658"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qoop</a:t>
          </a:r>
          <a:endParaRPr lang="en-US" sz="1200" b="0" i="0" kern="1200" dirty="0">
            <a:latin typeface="Helvetica Neue Thin" charset="0"/>
            <a:ea typeface="Helvetica Neue Thin" charset="0"/>
            <a:cs typeface="Helvetica Neue Thin" charset="0"/>
          </a:endParaRPr>
        </a:p>
      </dsp:txBody>
      <dsp:txXfrm>
        <a:off x="4738744" y="22086"/>
        <a:ext cx="964361" cy="709894"/>
      </dsp:txXfrm>
    </dsp:sp>
    <dsp:sp modelId="{C52D1841-36E2-9D4B-BC9F-A24074B8AAD3}">
      <dsp:nvSpPr>
        <dsp:cNvPr id="0" name=""/>
        <dsp:cNvSpPr/>
      </dsp:nvSpPr>
      <dsp:spPr>
        <a:xfrm>
          <a:off x="5894625" y="0"/>
          <a:ext cx="1008533" cy="754066"/>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0" i="0" kern="1200" dirty="0" smtClean="0">
              <a:latin typeface="Helvetica Neue Thin" charset="0"/>
              <a:ea typeface="Helvetica Neue Thin" charset="0"/>
              <a:cs typeface="Helvetica Neue Thin" charset="0"/>
            </a:rPr>
            <a:t>Solr / Lucene</a:t>
          </a:r>
          <a:endParaRPr lang="en-US" sz="1200" b="0" i="0" kern="1200" dirty="0">
            <a:latin typeface="Helvetica Neue Thin" charset="0"/>
            <a:ea typeface="Helvetica Neue Thin" charset="0"/>
            <a:cs typeface="Helvetica Neue Thin" charset="0"/>
          </a:endParaRPr>
        </a:p>
      </dsp:txBody>
      <dsp:txXfrm>
        <a:off x="5916711" y="22086"/>
        <a:ext cx="964361" cy="70989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B06A81-8723-BD49-BBFA-BA859B147D54}">
      <dsp:nvSpPr>
        <dsp:cNvPr id="0" name=""/>
        <dsp:cNvSpPr/>
      </dsp:nvSpPr>
      <dsp:spPr>
        <a:xfrm>
          <a:off x="1833" y="0"/>
          <a:ext cx="1788443" cy="8400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i="0" kern="1200" dirty="0" smtClean="0">
              <a:latin typeface="Helvetica Neue Light" charset="0"/>
              <a:ea typeface="Helvetica Neue Light" charset="0"/>
              <a:cs typeface="Helvetica Neue Light" charset="0"/>
            </a:rPr>
            <a:t>Applications</a:t>
          </a:r>
          <a:endParaRPr lang="en-US" sz="1600" b="0" i="0" kern="1200" dirty="0">
            <a:latin typeface="Helvetica Neue Light" charset="0"/>
            <a:ea typeface="Helvetica Neue Light" charset="0"/>
            <a:cs typeface="Helvetica Neue Light" charset="0"/>
          </a:endParaRPr>
        </a:p>
      </dsp:txBody>
      <dsp:txXfrm>
        <a:off x="26436" y="24603"/>
        <a:ext cx="1739237" cy="790807"/>
      </dsp:txXfrm>
    </dsp:sp>
    <dsp:sp modelId="{C2742AA5-ED32-A945-812D-DAC19877B82F}">
      <dsp:nvSpPr>
        <dsp:cNvPr id="0" name=""/>
        <dsp:cNvSpPr/>
      </dsp:nvSpPr>
      <dsp:spPr>
        <a:xfrm>
          <a:off x="2090735" y="0"/>
          <a:ext cx="1788443" cy="8400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i="0" kern="1200" dirty="0" smtClean="0">
              <a:latin typeface="Helvetica Neue Light" charset="0"/>
              <a:ea typeface="Helvetica Neue Light" charset="0"/>
              <a:cs typeface="Helvetica Neue Light" charset="0"/>
            </a:rPr>
            <a:t>Data</a:t>
          </a:r>
          <a:endParaRPr lang="en-US" sz="1600" b="0" i="0" kern="1200" dirty="0">
            <a:latin typeface="Helvetica Neue Light" charset="0"/>
            <a:ea typeface="Helvetica Neue Light" charset="0"/>
            <a:cs typeface="Helvetica Neue Light" charset="0"/>
          </a:endParaRPr>
        </a:p>
      </dsp:txBody>
      <dsp:txXfrm>
        <a:off x="2115338" y="24603"/>
        <a:ext cx="1739237" cy="790807"/>
      </dsp:txXfrm>
    </dsp:sp>
    <dsp:sp modelId="{98F4EA79-0094-8945-BBE5-6F5AAC086778}">
      <dsp:nvSpPr>
        <dsp:cNvPr id="0" name=""/>
        <dsp:cNvSpPr/>
      </dsp:nvSpPr>
      <dsp:spPr>
        <a:xfrm>
          <a:off x="4179638" y="0"/>
          <a:ext cx="1788443" cy="8400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i="0" kern="1200" dirty="0" smtClean="0">
              <a:latin typeface="Helvetica Neue Light" charset="0"/>
              <a:ea typeface="Helvetica Neue Light" charset="0"/>
              <a:cs typeface="Helvetica Neue Light" charset="0"/>
            </a:rPr>
            <a:t>Hadoop Operations</a:t>
          </a:r>
          <a:endParaRPr lang="en-US" sz="1600" b="0" i="0" kern="1200" dirty="0">
            <a:latin typeface="Helvetica Neue Light" charset="0"/>
            <a:ea typeface="Helvetica Neue Light" charset="0"/>
            <a:cs typeface="Helvetica Neue Light" charset="0"/>
          </a:endParaRPr>
        </a:p>
      </dsp:txBody>
      <dsp:txXfrm>
        <a:off x="4204241" y="24603"/>
        <a:ext cx="1739237" cy="790807"/>
      </dsp:txXfrm>
    </dsp:sp>
    <dsp:sp modelId="{A85AE542-7156-DD4C-BB6B-F9B719BC4E2C}">
      <dsp:nvSpPr>
        <dsp:cNvPr id="0" name=""/>
        <dsp:cNvSpPr/>
      </dsp:nvSpPr>
      <dsp:spPr>
        <a:xfrm>
          <a:off x="6268540" y="0"/>
          <a:ext cx="1788443" cy="840013"/>
        </a:xfrm>
        <a:prstGeom prst="roundRect">
          <a:avLst>
            <a:gd name="adj" fmla="val 10000"/>
          </a:avLst>
        </a:prstGeom>
        <a:solidFill>
          <a:srgbClr val="1DA08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0" i="0" kern="1200" dirty="0" smtClean="0">
              <a:latin typeface="Helvetica Neue Light" charset="0"/>
              <a:ea typeface="Helvetica Neue Light" charset="0"/>
              <a:cs typeface="Helvetica Neue Light" charset="0"/>
            </a:rPr>
            <a:t>BigInsights Operations</a:t>
          </a:r>
          <a:endParaRPr lang="en-US" sz="1600" b="0" i="0" kern="1200" dirty="0">
            <a:latin typeface="Helvetica Neue Light" charset="0"/>
            <a:ea typeface="Helvetica Neue Light" charset="0"/>
            <a:cs typeface="Helvetica Neue Light" charset="0"/>
          </a:endParaRPr>
        </a:p>
      </dsp:txBody>
      <dsp:txXfrm>
        <a:off x="6293143" y="24603"/>
        <a:ext cx="1739237" cy="79080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9D821B-2DCB-0546-9601-FB7DEAD37E75}">
      <dsp:nvSpPr>
        <dsp:cNvPr id="0" name=""/>
        <dsp:cNvSpPr/>
      </dsp:nvSpPr>
      <dsp:spPr>
        <a:xfrm>
          <a:off x="3848"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OS Patches</a:t>
          </a:r>
          <a:endParaRPr lang="en-US" sz="1300" b="0" i="0" kern="1200" dirty="0">
            <a:latin typeface="Helvetica Neue Light" charset="0"/>
            <a:ea typeface="Helvetica Neue Light" charset="0"/>
            <a:cs typeface="Helvetica Neue Light" charset="0"/>
          </a:endParaRPr>
        </a:p>
      </dsp:txBody>
      <dsp:txXfrm>
        <a:off x="28451" y="24603"/>
        <a:ext cx="956178" cy="790807"/>
      </dsp:txXfrm>
    </dsp:sp>
    <dsp:sp modelId="{7277F222-AE33-A443-914E-7C4930AAE06D}">
      <dsp:nvSpPr>
        <dsp:cNvPr id="0" name=""/>
        <dsp:cNvSpPr/>
      </dsp:nvSpPr>
      <dsp:spPr>
        <a:xfrm>
          <a:off x="1178137"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BigInsights Patches</a:t>
          </a:r>
          <a:endParaRPr lang="en-US" sz="1300" b="0" i="0" kern="1200" dirty="0">
            <a:latin typeface="Helvetica Neue Light" charset="0"/>
            <a:ea typeface="Helvetica Neue Light" charset="0"/>
            <a:cs typeface="Helvetica Neue Light" charset="0"/>
          </a:endParaRPr>
        </a:p>
      </dsp:txBody>
      <dsp:txXfrm>
        <a:off x="1202740" y="24603"/>
        <a:ext cx="956178" cy="790807"/>
      </dsp:txXfrm>
    </dsp:sp>
    <dsp:sp modelId="{6394D3A0-A065-654C-B816-2EADF6D019CF}">
      <dsp:nvSpPr>
        <dsp:cNvPr id="0" name=""/>
        <dsp:cNvSpPr/>
      </dsp:nvSpPr>
      <dsp:spPr>
        <a:xfrm>
          <a:off x="2352427"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Operating System</a:t>
          </a:r>
          <a:endParaRPr lang="en-US" sz="1300" b="0" i="0" kern="1200" dirty="0">
            <a:latin typeface="Helvetica Neue Light" charset="0"/>
            <a:ea typeface="Helvetica Neue Light" charset="0"/>
            <a:cs typeface="Helvetica Neue Light" charset="0"/>
          </a:endParaRPr>
        </a:p>
      </dsp:txBody>
      <dsp:txXfrm>
        <a:off x="2377030" y="24603"/>
        <a:ext cx="956178" cy="790807"/>
      </dsp:txXfrm>
    </dsp:sp>
    <dsp:sp modelId="{8EF319BB-F79B-1043-8384-AB2840DC6882}">
      <dsp:nvSpPr>
        <dsp:cNvPr id="0" name=""/>
        <dsp:cNvSpPr/>
      </dsp:nvSpPr>
      <dsp:spPr>
        <a:xfrm>
          <a:off x="3526716"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Security</a:t>
          </a:r>
          <a:endParaRPr lang="en-US" sz="1300" b="0" i="0" kern="1200" dirty="0">
            <a:latin typeface="Helvetica Neue Light" charset="0"/>
            <a:ea typeface="Helvetica Neue Light" charset="0"/>
            <a:cs typeface="Helvetica Neue Light" charset="0"/>
          </a:endParaRPr>
        </a:p>
      </dsp:txBody>
      <dsp:txXfrm>
        <a:off x="3551319" y="24603"/>
        <a:ext cx="956178" cy="790807"/>
      </dsp:txXfrm>
    </dsp:sp>
    <dsp:sp modelId="{EFB0FE43-5CF4-5644-A886-BC97EC161143}">
      <dsp:nvSpPr>
        <dsp:cNvPr id="0" name=""/>
        <dsp:cNvSpPr/>
      </dsp:nvSpPr>
      <dsp:spPr>
        <a:xfrm>
          <a:off x="4701006"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Servers</a:t>
          </a:r>
          <a:endParaRPr lang="en-US" sz="1300" b="0" i="0" kern="1200" dirty="0">
            <a:latin typeface="Helvetica Neue Light" charset="0"/>
            <a:ea typeface="Helvetica Neue Light" charset="0"/>
            <a:cs typeface="Helvetica Neue Light" charset="0"/>
          </a:endParaRPr>
        </a:p>
      </dsp:txBody>
      <dsp:txXfrm>
        <a:off x="4725609" y="24603"/>
        <a:ext cx="956178" cy="790807"/>
      </dsp:txXfrm>
    </dsp:sp>
    <dsp:sp modelId="{5858EA5E-CE5B-E44D-98DD-C1DB6D53F0DB}">
      <dsp:nvSpPr>
        <dsp:cNvPr id="0" name=""/>
        <dsp:cNvSpPr/>
      </dsp:nvSpPr>
      <dsp:spPr>
        <a:xfrm>
          <a:off x="5875295"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Storage</a:t>
          </a:r>
          <a:endParaRPr lang="en-US" sz="1300" b="0" i="0" kern="1200" dirty="0">
            <a:latin typeface="Helvetica Neue Light" charset="0"/>
            <a:ea typeface="Helvetica Neue Light" charset="0"/>
            <a:cs typeface="Helvetica Neue Light" charset="0"/>
          </a:endParaRPr>
        </a:p>
      </dsp:txBody>
      <dsp:txXfrm>
        <a:off x="5899898" y="24603"/>
        <a:ext cx="956178" cy="790807"/>
      </dsp:txXfrm>
    </dsp:sp>
    <dsp:sp modelId="{13A94814-5466-D346-9003-622A55CFE961}">
      <dsp:nvSpPr>
        <dsp:cNvPr id="0" name=""/>
        <dsp:cNvSpPr/>
      </dsp:nvSpPr>
      <dsp:spPr>
        <a:xfrm>
          <a:off x="7049584" y="0"/>
          <a:ext cx="1005384" cy="840013"/>
        </a:xfrm>
        <a:prstGeom prst="roundRect">
          <a:avLst>
            <a:gd name="adj" fmla="val 10000"/>
          </a:avLst>
        </a:prstGeom>
        <a:solidFill>
          <a:srgbClr val="0A588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0" i="0" kern="1200" dirty="0" smtClean="0">
              <a:latin typeface="Helvetica Neue Light" charset="0"/>
              <a:ea typeface="Helvetica Neue Light" charset="0"/>
              <a:cs typeface="Helvetica Neue Light" charset="0"/>
            </a:rPr>
            <a:t>Networking</a:t>
          </a:r>
          <a:endParaRPr lang="en-US" sz="1300" b="0" i="0" kern="1200" dirty="0">
            <a:latin typeface="Helvetica Neue Light" charset="0"/>
            <a:ea typeface="Helvetica Neue Light" charset="0"/>
            <a:cs typeface="Helvetica Neue Light" charset="0"/>
          </a:endParaRPr>
        </a:p>
      </dsp:txBody>
      <dsp:txXfrm>
        <a:off x="7074187" y="24603"/>
        <a:ext cx="956178" cy="790807"/>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1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0.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Shape 19"/>
          <p:cNvSpPr>
            <a:spLocks noGrp="1" noRot="1" noChangeAspect="1"/>
          </p:cNvSpPr>
          <p:nvPr>
            <p:ph type="sldImg"/>
          </p:nvPr>
        </p:nvSpPr>
        <p:spPr>
          <a:xfrm>
            <a:off x="101600" y="742950"/>
            <a:ext cx="6604000" cy="3714750"/>
          </a:xfrm>
          <a:prstGeom prst="rect">
            <a:avLst/>
          </a:prstGeom>
        </p:spPr>
        <p:txBody>
          <a:bodyPr/>
          <a:lstStyle/>
          <a:p>
            <a:pPr lvl="0"/>
            <a:endParaRPr/>
          </a:p>
        </p:txBody>
      </p:sp>
      <p:sp>
        <p:nvSpPr>
          <p:cNvPr id="20" name="Shape 20"/>
          <p:cNvSpPr>
            <a:spLocks noGrp="1"/>
          </p:cNvSpPr>
          <p:nvPr>
            <p:ph type="body" sz="quarter" idx="1"/>
          </p:nvPr>
        </p:nvSpPr>
        <p:spPr>
          <a:xfrm>
            <a:off x="907627" y="4705350"/>
            <a:ext cx="4991947" cy="4457700"/>
          </a:xfrm>
          <a:prstGeom prst="rect">
            <a:avLst/>
          </a:prstGeom>
        </p:spPr>
        <p:txBody>
          <a:bodyPr/>
          <a:lstStyle/>
          <a:p>
            <a:pPr lvl="0"/>
            <a:endParaRPr/>
          </a:p>
        </p:txBody>
      </p:sp>
    </p:spTree>
    <p:extLst>
      <p:ext uri="{BB962C8B-B14F-4D97-AF65-F5344CB8AC3E}">
        <p14:creationId xmlns:p14="http://schemas.microsoft.com/office/powerpoint/2010/main" val="3088970291"/>
      </p:ext>
    </p:extLst>
  </p:cSld>
  <p:clrMap bg1="lt1" tx1="dk1" bg2="lt2" tx2="dk2" accent1="accent1" accent2="accent2" accent3="accent3" accent4="accent4" accent5="accent5" accent6="accent6" hlink="hlink" folHlink="folHlink"/>
  <p:notesStyle>
    <a:lvl1pPr defTabSz="457200">
      <a:lnSpc>
        <a:spcPct val="117999"/>
      </a:lnSpc>
      <a:defRPr sz="2200">
        <a:latin typeface="+mn-lt"/>
        <a:ea typeface="+mn-ea"/>
        <a:cs typeface="+mn-cs"/>
        <a:sym typeface="Helvetica Neue"/>
      </a:defRPr>
    </a:lvl1pPr>
    <a:lvl2pPr indent="228600" defTabSz="457200">
      <a:lnSpc>
        <a:spcPct val="117999"/>
      </a:lnSpc>
      <a:defRPr sz="2200">
        <a:latin typeface="+mn-lt"/>
        <a:ea typeface="+mn-ea"/>
        <a:cs typeface="+mn-cs"/>
        <a:sym typeface="Helvetica Neue"/>
      </a:defRPr>
    </a:lvl2pPr>
    <a:lvl3pPr indent="457200" defTabSz="457200">
      <a:lnSpc>
        <a:spcPct val="117999"/>
      </a:lnSpc>
      <a:defRPr sz="2200">
        <a:latin typeface="+mn-lt"/>
        <a:ea typeface="+mn-ea"/>
        <a:cs typeface="+mn-cs"/>
        <a:sym typeface="Helvetica Neue"/>
      </a:defRPr>
    </a:lvl3pPr>
    <a:lvl4pPr indent="685800" defTabSz="457200">
      <a:lnSpc>
        <a:spcPct val="117999"/>
      </a:lnSpc>
      <a:defRPr sz="2200">
        <a:latin typeface="+mn-lt"/>
        <a:ea typeface="+mn-ea"/>
        <a:cs typeface="+mn-cs"/>
        <a:sym typeface="Helvetica Neue"/>
      </a:defRPr>
    </a:lvl4pPr>
    <a:lvl5pPr indent="914400" defTabSz="457200">
      <a:lnSpc>
        <a:spcPct val="117999"/>
      </a:lnSpc>
      <a:defRPr sz="2200">
        <a:latin typeface="+mn-lt"/>
        <a:ea typeface="+mn-ea"/>
        <a:cs typeface="+mn-cs"/>
        <a:sym typeface="Helvetica Neue"/>
      </a:defRPr>
    </a:lvl5pPr>
    <a:lvl6pPr indent="1143000" defTabSz="457200">
      <a:lnSpc>
        <a:spcPct val="117999"/>
      </a:lnSpc>
      <a:defRPr sz="2200">
        <a:latin typeface="+mn-lt"/>
        <a:ea typeface="+mn-ea"/>
        <a:cs typeface="+mn-cs"/>
        <a:sym typeface="Helvetica Neue"/>
      </a:defRPr>
    </a:lvl6pPr>
    <a:lvl7pPr indent="1371600" defTabSz="457200">
      <a:lnSpc>
        <a:spcPct val="117999"/>
      </a:lnSpc>
      <a:defRPr sz="2200">
        <a:latin typeface="+mn-lt"/>
        <a:ea typeface="+mn-ea"/>
        <a:cs typeface="+mn-cs"/>
        <a:sym typeface="Helvetica Neue"/>
      </a:defRPr>
    </a:lvl7pPr>
    <a:lvl8pPr indent="1600200" defTabSz="457200">
      <a:lnSpc>
        <a:spcPct val="117999"/>
      </a:lnSpc>
      <a:defRPr sz="2200">
        <a:latin typeface="+mn-lt"/>
        <a:ea typeface="+mn-ea"/>
        <a:cs typeface="+mn-cs"/>
        <a:sym typeface="Helvetica Neue"/>
      </a:defRPr>
    </a:lvl8pPr>
    <a:lvl9pPr indent="1828800" defTabSz="45720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p:cNvSpPr>
          <p:nvPr>
            <p:ph type="sldImg"/>
          </p:nvPr>
        </p:nvSpPr>
        <p:spPr>
          <a:xfrm>
            <a:off x="101600" y="742950"/>
            <a:ext cx="6604000" cy="3714750"/>
          </a:xfrm>
          <a:ln/>
        </p:spPr>
      </p:sp>
      <p:sp>
        <p:nvSpPr>
          <p:cNvPr id="45058" name="Notes Placeholder 2"/>
          <p:cNvSpPr>
            <a:spLocks noGrp="1"/>
          </p:cNvSpPr>
          <p:nvPr>
            <p:ph type="body"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r>
              <a:rPr lang="en-US" altLang="en-US" dirty="0" smtClean="0">
                <a:latin typeface="Arial" pitchFamily="34" charset="0"/>
              </a:rPr>
              <a:t>IBM offers an extensive and highly differentiated set of cloud data services for handling a variety of workloads:</a:t>
            </a:r>
          </a:p>
          <a:p>
            <a:pPr>
              <a:defRPr/>
            </a:pPr>
            <a:endParaRPr lang="en-US" altLang="en-US" dirty="0" smtClean="0">
              <a:latin typeface="Arial" pitchFamily="34" charset="0"/>
            </a:endParaRPr>
          </a:p>
          <a:p>
            <a:pPr>
              <a:defRPr/>
            </a:pPr>
            <a:r>
              <a:rPr lang="en-US" altLang="en-US" dirty="0" smtClean="0">
                <a:latin typeface="Arial" pitchFamily="34" charset="0"/>
              </a:rPr>
              <a:t>Application development…especially good for mobile apps – </a:t>
            </a:r>
            <a:r>
              <a:rPr lang="en-US" altLang="en-US" dirty="0" err="1" smtClean="0">
                <a:latin typeface="Arial" pitchFamily="34" charset="0"/>
              </a:rPr>
              <a:t>Cloudant</a:t>
            </a:r>
            <a:r>
              <a:rPr lang="en-US" altLang="en-US" baseline="0" dirty="0" smtClean="0">
                <a:latin typeface="Arial" pitchFamily="34" charset="0"/>
              </a:rPr>
              <a:t> NoSQL operational data store</a:t>
            </a:r>
            <a:endParaRPr lang="en-US" altLang="en-US" dirty="0" smtClean="0">
              <a:latin typeface="Arial" pitchFamily="34" charset="0"/>
            </a:endParaRPr>
          </a:p>
          <a:p>
            <a:pPr>
              <a:defRPr/>
            </a:pPr>
            <a:r>
              <a:rPr lang="en-US" altLang="en-US" dirty="0" smtClean="0">
                <a:latin typeface="Arial" pitchFamily="34" charset="0"/>
              </a:rPr>
              <a:t>Analytics services – of structured and unstructured data – </a:t>
            </a:r>
            <a:r>
              <a:rPr lang="en-US" altLang="en-US" dirty="0" err="1" smtClean="0">
                <a:latin typeface="Arial" pitchFamily="34" charset="0"/>
              </a:rPr>
              <a:t>dashDB</a:t>
            </a:r>
            <a:endParaRPr lang="en-US" altLang="en-US" dirty="0" smtClean="0">
              <a:latin typeface="Arial" pitchFamily="34" charset="0"/>
            </a:endParaRPr>
          </a:p>
          <a:p>
            <a:pPr>
              <a:defRPr/>
            </a:pPr>
            <a:r>
              <a:rPr lang="en-US" altLang="en-US" dirty="0" smtClean="0">
                <a:latin typeface="Arial" pitchFamily="34" charset="0"/>
              </a:rPr>
              <a:t>Deep analytics on Hadoop</a:t>
            </a:r>
            <a:r>
              <a:rPr lang="en-US" altLang="en-US" baseline="0" dirty="0" smtClean="0">
                <a:latin typeface="Arial" pitchFamily="34" charset="0"/>
              </a:rPr>
              <a:t> – </a:t>
            </a:r>
            <a:r>
              <a:rPr lang="en-US" altLang="en-US" baseline="0" dirty="0" err="1" smtClean="0">
                <a:latin typeface="Arial" pitchFamily="34" charset="0"/>
              </a:rPr>
              <a:t>BigInsights</a:t>
            </a:r>
            <a:r>
              <a:rPr lang="en-US" altLang="en-US" baseline="0" dirty="0" smtClean="0">
                <a:latin typeface="Arial" pitchFamily="34" charset="0"/>
              </a:rPr>
              <a:t> on Cloud.</a:t>
            </a:r>
          </a:p>
          <a:p>
            <a:pPr>
              <a:defRPr/>
            </a:pPr>
            <a:r>
              <a:rPr lang="en-US" altLang="en-US" baseline="0" dirty="0" smtClean="0">
                <a:latin typeface="Arial" pitchFamily="34" charset="0"/>
              </a:rPr>
              <a:t>Hosted Database in the Cloud – DB2 on Cloud</a:t>
            </a:r>
            <a:endParaRPr lang="en-US" altLang="en-US" dirty="0" smtClean="0">
              <a:latin typeface="Arial" pitchFamily="34" charset="0"/>
            </a:endParaRPr>
          </a:p>
          <a:p>
            <a:pPr>
              <a:defRPr/>
            </a:pPr>
            <a:endParaRPr lang="en-US" altLang="en-US" dirty="0" smtClean="0">
              <a:latin typeface="Arial" pitchFamily="34" charset="0"/>
            </a:endParaRPr>
          </a:p>
          <a:p>
            <a:pPr>
              <a:defRPr/>
            </a:pPr>
            <a:r>
              <a:rPr lang="en-US" altLang="en-US" dirty="0" smtClean="0">
                <a:latin typeface="Arial" pitchFamily="34" charset="0"/>
              </a:rPr>
              <a:t>All fully managed for you, integrated via the IBM Bluemix </a:t>
            </a:r>
            <a:r>
              <a:rPr lang="en-US" altLang="en-US" dirty="0" err="1" smtClean="0">
                <a:latin typeface="Arial" pitchFamily="34" charset="0"/>
              </a:rPr>
              <a:t>PaaS</a:t>
            </a:r>
            <a:r>
              <a:rPr lang="en-US" altLang="en-US" dirty="0" smtClean="0">
                <a:latin typeface="Arial" pitchFamily="34" charset="0"/>
              </a:rPr>
              <a:t> for ease of use and development, and running on IBM </a:t>
            </a:r>
            <a:r>
              <a:rPr lang="en-US" altLang="en-US" dirty="0" err="1" smtClean="0">
                <a:latin typeface="Arial" pitchFamily="34" charset="0"/>
              </a:rPr>
              <a:t>SoftLayer’s</a:t>
            </a:r>
            <a:r>
              <a:rPr lang="en-US" altLang="en-US" dirty="0" smtClean="0">
                <a:latin typeface="Arial" pitchFamily="34" charset="0"/>
              </a:rPr>
              <a:t> cloud with its bare-metal performance advantages.</a:t>
            </a:r>
          </a:p>
          <a:p>
            <a:pPr>
              <a:defRPr/>
            </a:pPr>
            <a:endParaRPr lang="en-US" altLang="en-US" dirty="0" smtClean="0">
              <a:latin typeface="Arial" pitchFamily="34" charset="0"/>
            </a:endParaRPr>
          </a:p>
          <a:p>
            <a:pPr>
              <a:defRPr/>
            </a:pPr>
            <a:r>
              <a:rPr lang="en-US" altLang="en-US" dirty="0" smtClean="0">
                <a:latin typeface="Arial" pitchFamily="34" charset="0"/>
              </a:rPr>
              <a:t>Let’s take a deeper look into the individual services.</a:t>
            </a:r>
          </a:p>
        </p:txBody>
      </p:sp>
      <p:sp>
        <p:nvSpPr>
          <p:cNvPr id="45059" name="Slide Number Placeholder 3"/>
          <p:cNvSpPr>
            <a:spLocks noGrp="1"/>
          </p:cNvSpPr>
          <p:nvPr>
            <p:ph type="sldNum" sz="quarter" idx="5"/>
          </p:nvPr>
        </p:nvSpPr>
        <p:spPr>
          <a:xfrm>
            <a:off x="3855838" y="9408981"/>
            <a:ext cx="2949787" cy="4953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ea typeface="ＭＳ Ｐゴシック" pitchFamily="34" charset="-128"/>
              </a:defRPr>
            </a:lvl1pPr>
            <a:lvl2pPr marL="742950" indent="-285750">
              <a:spcBef>
                <a:spcPct val="30000"/>
              </a:spcBef>
              <a:defRPr sz="1200">
                <a:solidFill>
                  <a:schemeClr val="tx1"/>
                </a:solidFill>
                <a:latin typeface="Arial" pitchFamily="34" charset="0"/>
                <a:ea typeface="ＭＳ Ｐゴシック" pitchFamily="34" charset="-128"/>
              </a:defRPr>
            </a:lvl2pPr>
            <a:lvl3pPr marL="1143000" indent="-228600">
              <a:spcBef>
                <a:spcPct val="30000"/>
              </a:spcBef>
              <a:defRPr sz="1200">
                <a:solidFill>
                  <a:schemeClr val="tx1"/>
                </a:solidFill>
                <a:latin typeface="Arial" pitchFamily="34" charset="0"/>
                <a:ea typeface="ＭＳ Ｐゴシック" pitchFamily="34" charset="-128"/>
              </a:defRPr>
            </a:lvl3pPr>
            <a:lvl4pPr marL="1600200" indent="-228600">
              <a:spcBef>
                <a:spcPct val="30000"/>
              </a:spcBef>
              <a:defRPr sz="1200">
                <a:solidFill>
                  <a:schemeClr val="tx1"/>
                </a:solidFill>
                <a:latin typeface="Arial" pitchFamily="34" charset="0"/>
                <a:ea typeface="ＭＳ Ｐゴシック" pitchFamily="34" charset="-128"/>
              </a:defRPr>
            </a:lvl4pPr>
            <a:lvl5pPr marL="2057400" indent="-228600">
              <a:spcBef>
                <a:spcPct val="30000"/>
              </a:spcBef>
              <a:defRPr sz="1200">
                <a:solidFill>
                  <a:schemeClr val="tx1"/>
                </a:solidFill>
                <a:latin typeface="Arial" pitchFamily="34" charset="0"/>
                <a:ea typeface="ＭＳ Ｐゴシック" pitchFamily="34" charset="-128"/>
              </a:defRPr>
            </a:lvl5pPr>
            <a:lvl6pPr marL="2514600" indent="-228600" eaLnBrk="0" fontAlgn="base" hangingPunct="0">
              <a:spcBef>
                <a:spcPct val="30000"/>
              </a:spcBef>
              <a:spcAft>
                <a:spcPct val="0"/>
              </a:spcAft>
              <a:defRPr sz="1200">
                <a:solidFill>
                  <a:schemeClr val="tx1"/>
                </a:solidFill>
                <a:latin typeface="Arial" pitchFamily="34" charset="0"/>
                <a:ea typeface="ＭＳ Ｐゴシック" pitchFamily="34" charset="-128"/>
              </a:defRPr>
            </a:lvl6pPr>
            <a:lvl7pPr marL="2971800" indent="-228600" eaLnBrk="0" fontAlgn="base" hangingPunct="0">
              <a:spcBef>
                <a:spcPct val="30000"/>
              </a:spcBef>
              <a:spcAft>
                <a:spcPct val="0"/>
              </a:spcAft>
              <a:defRPr sz="1200">
                <a:solidFill>
                  <a:schemeClr val="tx1"/>
                </a:solidFill>
                <a:latin typeface="Arial" pitchFamily="34" charset="0"/>
                <a:ea typeface="ＭＳ Ｐゴシック" pitchFamily="34" charset="-128"/>
              </a:defRPr>
            </a:lvl7pPr>
            <a:lvl8pPr marL="3429000" indent="-228600" eaLnBrk="0" fontAlgn="base" hangingPunct="0">
              <a:spcBef>
                <a:spcPct val="30000"/>
              </a:spcBef>
              <a:spcAft>
                <a:spcPct val="0"/>
              </a:spcAft>
              <a:defRPr sz="1200">
                <a:solidFill>
                  <a:schemeClr val="tx1"/>
                </a:solidFill>
                <a:latin typeface="Arial" pitchFamily="34" charset="0"/>
                <a:ea typeface="ＭＳ Ｐゴシック" pitchFamily="34" charset="-128"/>
              </a:defRPr>
            </a:lvl8pPr>
            <a:lvl9pPr marL="3886200" indent="-228600" eaLnBrk="0" fontAlgn="base" hangingPunct="0">
              <a:spcBef>
                <a:spcPct val="30000"/>
              </a:spcBef>
              <a:spcAft>
                <a:spcPct val="0"/>
              </a:spcAft>
              <a:defRPr sz="1200">
                <a:solidFill>
                  <a:schemeClr val="tx1"/>
                </a:solidFill>
                <a:latin typeface="Arial" pitchFamily="34" charset="0"/>
                <a:ea typeface="ＭＳ Ｐゴシック" pitchFamily="34" charset="-128"/>
              </a:defRPr>
            </a:lvl9pPr>
          </a:lstStyle>
          <a:p>
            <a:pPr>
              <a:spcBef>
                <a:spcPct val="0"/>
              </a:spcBef>
              <a:defRPr/>
            </a:pPr>
            <a:fld id="{A459B3B5-3B93-4E96-8BC4-45B399FED014}" type="slidenum">
              <a:rPr lang="en-US" altLang="en-US" smtClean="0"/>
              <a:pPr>
                <a:spcBef>
                  <a:spcPct val="0"/>
                </a:spcBef>
                <a:defRPr/>
              </a:pPr>
              <a:t>6</a:t>
            </a:fld>
            <a:endParaRPr lang="en-US" altLang="en-US" smtClean="0"/>
          </a:p>
        </p:txBody>
      </p:sp>
    </p:spTree>
    <p:extLst>
      <p:ext uri="{BB962C8B-B14F-4D97-AF65-F5344CB8AC3E}">
        <p14:creationId xmlns:p14="http://schemas.microsoft.com/office/powerpoint/2010/main" val="1677518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7901791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622565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40917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19919549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9570002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6989653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3124649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6331599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1620212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2246427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eaLnBrk="1" hangingPunct="1">
              <a:lnSpc>
                <a:spcPct val="80000"/>
              </a:lnSpc>
              <a:spcBef>
                <a:spcPct val="0"/>
              </a:spcBef>
            </a:pPr>
            <a:r>
              <a:rPr lang="en-US" sz="1200" kern="1200" dirty="0" smtClean="0">
                <a:solidFill>
                  <a:schemeClr val="tx1"/>
                </a:solidFill>
                <a:effectLst/>
                <a:latin typeface="Arial" charset="0"/>
                <a:ea typeface="ＭＳ Ｐゴシック" charset="0"/>
                <a:cs typeface="ＭＳ Ｐゴシック" pitchFamily="34" charset="-128"/>
              </a:rPr>
              <a:t>They heard about the benefits of </a:t>
            </a:r>
            <a:r>
              <a:rPr lang="en-US" sz="1200" kern="1200" dirty="0" err="1" smtClean="0">
                <a:solidFill>
                  <a:schemeClr val="tx1"/>
                </a:solidFill>
                <a:effectLst/>
                <a:latin typeface="Arial" charset="0"/>
                <a:ea typeface="ＭＳ Ｐゴシック" charset="0"/>
                <a:cs typeface="ＭＳ Ｐゴシック" pitchFamily="34" charset="-128"/>
              </a:rPr>
              <a:t>NoSQL</a:t>
            </a:r>
            <a:r>
              <a:rPr lang="en-US" sz="1200" kern="1200" dirty="0" smtClean="0">
                <a:solidFill>
                  <a:schemeClr val="tx1"/>
                </a:solidFill>
                <a:effectLst/>
                <a:latin typeface="Arial" charset="0"/>
                <a:ea typeface="ＭＳ Ｐゴシック" charset="0"/>
                <a:cs typeface="ＭＳ Ｐゴシック" pitchFamily="34" charset="-128"/>
              </a:rPr>
              <a:t> databases, thought their app could benefit from it, and were exploring options. They saw this app as critical to their plan to disrupt the market, and too get it all together, they thought it could take upwards of 20 months. </a:t>
            </a:r>
          </a:p>
          <a:p>
            <a:pPr eaLnBrk="1" hangingPunct="1">
              <a:lnSpc>
                <a:spcPct val="80000"/>
              </a:lnSpc>
              <a:spcBef>
                <a:spcPct val="0"/>
              </a:spcBef>
            </a:pPr>
            <a:endParaRPr lang="en-US" altLang="en-US" sz="1200" kern="1200" dirty="0" smtClean="0">
              <a:solidFill>
                <a:schemeClr val="tx1"/>
              </a:solidFill>
              <a:effectLst/>
              <a:latin typeface="Arial" charset="0"/>
              <a:ea typeface="ＭＳ Ｐゴシック" charset="0"/>
              <a:cs typeface="ＭＳ Ｐゴシック" pitchFamily="34" charset="-128"/>
            </a:endParaRPr>
          </a:p>
          <a:p>
            <a:pPr marL="0" marR="0" indent="0" algn="l" defTabSz="914400" rtl="0" eaLnBrk="1" fontAlgn="base" latinLnBrk="0" hangingPunct="1">
              <a:lnSpc>
                <a:spcPct val="80000"/>
              </a:lnSpc>
              <a:spcBef>
                <a:spcPct val="0"/>
              </a:spcBef>
              <a:spcAft>
                <a:spcPct val="0"/>
              </a:spcAft>
              <a:buClrTx/>
              <a:buSzTx/>
              <a:buFontTx/>
              <a:buNone/>
              <a:tabLst/>
              <a:defRPr/>
            </a:pPr>
            <a:r>
              <a:rPr lang="en-US" sz="1200" kern="1200" dirty="0" smtClean="0">
                <a:solidFill>
                  <a:schemeClr val="tx1"/>
                </a:solidFill>
                <a:effectLst/>
                <a:latin typeface="Arial" charset="0"/>
                <a:ea typeface="ＭＳ Ｐゴシック" charset="0"/>
                <a:cs typeface="ＭＳ Ｐゴシック" pitchFamily="34" charset="-128"/>
              </a:rPr>
              <a:t>Thanks the benefits of Cloudant and its managed service, this company was able to get their new app out in less than 9 months! This is less than half the time they thought it would take them to do themselves. Cloudant is hugely compelling on its own… now with the rest of the Cloud Data Services portfolio beside it, it’s even more compelling, and for users and sellers alike. </a:t>
            </a:r>
          </a:p>
          <a:p>
            <a:pPr marL="0" marR="0" indent="0" algn="l" defTabSz="914400" rtl="0" eaLnBrk="1" fontAlgn="base" latinLnBrk="0" hangingPunct="1">
              <a:lnSpc>
                <a:spcPct val="8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ＭＳ Ｐゴシック" pitchFamily="34" charset="-128"/>
            </a:endParaRPr>
          </a:p>
          <a:p>
            <a:pPr marL="0" marR="0" indent="0" algn="l" defTabSz="914400" rtl="0" eaLnBrk="1" fontAlgn="base" latinLnBrk="0" hangingPunct="1">
              <a:lnSpc>
                <a:spcPct val="8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ＭＳ Ｐゴシック" pitchFamily="34" charset="-128"/>
            </a:endParaRPr>
          </a:p>
          <a:p>
            <a:pPr marL="0" marR="0" indent="0" algn="l" defTabSz="914400" rtl="0" eaLnBrk="1" fontAlgn="base" latinLnBrk="0" hangingPunct="1">
              <a:lnSpc>
                <a:spcPct val="8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ＭＳ Ｐゴシック" pitchFamily="34" charset="-128"/>
            </a:endParaRPr>
          </a:p>
          <a:p>
            <a:pPr marL="0" marR="0" indent="0" algn="l" defTabSz="914400" rtl="0" eaLnBrk="1" fontAlgn="base" latinLnBrk="0" hangingPunct="1">
              <a:lnSpc>
                <a:spcPct val="8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ＭＳ Ｐゴシック" pitchFamily="34" charset="-128"/>
            </a:endParaRPr>
          </a:p>
          <a:p>
            <a:pPr marL="171450" indent="-171450" eaLnBrk="1" hangingPunct="1"/>
            <a:r>
              <a:rPr lang="en-US" altLang="en-US" b="1" dirty="0" smtClean="0">
                <a:ea typeface="ＭＳ Ｐゴシック" pitchFamily="34" charset="-128"/>
              </a:rPr>
              <a:t>Company Background</a:t>
            </a:r>
          </a:p>
          <a:p>
            <a:pPr marL="428625" lvl="1" indent="-171450" eaLnBrk="1" hangingPunct="1"/>
            <a:r>
              <a:rPr lang="en-US" altLang="en-US" sz="1400" dirty="0" smtClean="0">
                <a:solidFill>
                  <a:srgbClr val="000000"/>
                </a:solidFill>
              </a:rPr>
              <a:t>Payment processor and issuer of fleet fuel cards company headquartered in Tennessee.</a:t>
            </a:r>
          </a:p>
          <a:p>
            <a:pPr marL="428625" lvl="1" indent="-171450" eaLnBrk="1" hangingPunct="1"/>
            <a:r>
              <a:rPr lang="en-US" altLang="en-US" sz="1400" dirty="0" smtClean="0">
                <a:solidFill>
                  <a:srgbClr val="000000"/>
                </a:solidFill>
              </a:rPr>
              <a:t>Needed to </a:t>
            </a:r>
            <a:r>
              <a:rPr lang="en-US" altLang="en-US" sz="1400" b="1" dirty="0" smtClean="0">
                <a:solidFill>
                  <a:srgbClr val="000000"/>
                </a:solidFill>
              </a:rPr>
              <a:t>create a mobile app that delivers a better experience for end users of </a:t>
            </a:r>
            <a:r>
              <a:rPr lang="en-US" altLang="en-US" sz="1400" b="1" dirty="0" err="1" smtClean="0">
                <a:solidFill>
                  <a:srgbClr val="000000"/>
                </a:solidFill>
              </a:rPr>
              <a:t>Comdata’s</a:t>
            </a:r>
            <a:r>
              <a:rPr lang="en-US" altLang="en-US" sz="1400" b="1" dirty="0" smtClean="0">
                <a:solidFill>
                  <a:srgbClr val="000000"/>
                </a:solidFill>
              </a:rPr>
              <a:t> payment processing system.</a:t>
            </a:r>
          </a:p>
          <a:p>
            <a:pPr marL="428625" lvl="1" indent="-171450" eaLnBrk="1" hangingPunct="1"/>
            <a:r>
              <a:rPr lang="en-US" altLang="en-US" sz="1400" dirty="0" smtClean="0">
                <a:solidFill>
                  <a:srgbClr val="000000"/>
                </a:solidFill>
              </a:rPr>
              <a:t>This mobile app is critical for </a:t>
            </a:r>
            <a:r>
              <a:rPr lang="en-US" altLang="en-US" sz="1400" dirty="0" err="1" smtClean="0">
                <a:solidFill>
                  <a:srgbClr val="000000"/>
                </a:solidFill>
              </a:rPr>
              <a:t>Comdata’s</a:t>
            </a:r>
            <a:r>
              <a:rPr lang="en-US" altLang="en-US" sz="1400" dirty="0" smtClean="0">
                <a:solidFill>
                  <a:srgbClr val="000000"/>
                </a:solidFill>
              </a:rPr>
              <a:t> strategic plan to be disruptive in their market.</a:t>
            </a:r>
          </a:p>
          <a:p>
            <a:pPr marL="171450" indent="-171450" eaLnBrk="1" hangingPunct="1"/>
            <a:endParaRPr lang="en-US" altLang="en-US" sz="1400" dirty="0" smtClean="0">
              <a:ea typeface="ＭＳ Ｐゴシック" pitchFamily="34" charset="-128"/>
            </a:endParaRPr>
          </a:p>
          <a:p>
            <a:pPr marL="171450" indent="-171450" eaLnBrk="1" hangingPunct="1"/>
            <a:r>
              <a:rPr lang="en-US" altLang="en-US" b="1" dirty="0" smtClean="0">
                <a:ea typeface="ＭＳ Ｐゴシック" pitchFamily="34" charset="-128"/>
              </a:rPr>
              <a:t>Success Criteria</a:t>
            </a:r>
          </a:p>
          <a:p>
            <a:pPr marL="428625" lvl="1" indent="-171450" eaLnBrk="1" hangingPunct="1"/>
            <a:r>
              <a:rPr lang="en-US" altLang="en-US" sz="1400" dirty="0" smtClean="0">
                <a:solidFill>
                  <a:srgbClr val="000000"/>
                </a:solidFill>
              </a:rPr>
              <a:t>Show locations of vendors that use </a:t>
            </a:r>
            <a:r>
              <a:rPr lang="en-US" altLang="en-US" sz="1400" dirty="0" err="1" smtClean="0">
                <a:solidFill>
                  <a:srgbClr val="000000"/>
                </a:solidFill>
              </a:rPr>
              <a:t>Comdata’s</a:t>
            </a:r>
            <a:r>
              <a:rPr lang="en-US" altLang="en-US" sz="1400" dirty="0" smtClean="0">
                <a:solidFill>
                  <a:srgbClr val="000000"/>
                </a:solidFill>
              </a:rPr>
              <a:t> payment processing</a:t>
            </a:r>
            <a:endParaRPr lang="en-US" altLang="en-US" sz="1400" b="1" dirty="0" smtClean="0">
              <a:solidFill>
                <a:srgbClr val="000000"/>
              </a:solidFill>
            </a:endParaRPr>
          </a:p>
          <a:p>
            <a:pPr marL="428625" lvl="1" indent="-171450" eaLnBrk="1" hangingPunct="1"/>
            <a:r>
              <a:rPr lang="en-US" altLang="en-US" sz="1400" dirty="0" smtClean="0">
                <a:solidFill>
                  <a:srgbClr val="000000"/>
                </a:solidFill>
              </a:rPr>
              <a:t>Provide offline access to data</a:t>
            </a:r>
          </a:p>
          <a:p>
            <a:pPr marL="428625" lvl="1" indent="-171450" eaLnBrk="1" hangingPunct="1"/>
            <a:r>
              <a:rPr lang="en-US" altLang="en-US" sz="1400" dirty="0" err="1" smtClean="0">
                <a:solidFill>
                  <a:srgbClr val="000000"/>
                </a:solidFill>
              </a:rPr>
              <a:t>Optiminze</a:t>
            </a:r>
            <a:r>
              <a:rPr lang="en-US" altLang="en-US" sz="1400" dirty="0" smtClean="0">
                <a:solidFill>
                  <a:srgbClr val="000000"/>
                </a:solidFill>
              </a:rPr>
              <a:t> routes to based on distance, </a:t>
            </a:r>
            <a:r>
              <a:rPr lang="en-US" altLang="en-US" sz="1400" dirty="0" err="1" smtClean="0">
                <a:solidFill>
                  <a:srgbClr val="000000"/>
                </a:solidFill>
              </a:rPr>
              <a:t>Comdata</a:t>
            </a:r>
            <a:r>
              <a:rPr lang="en-US" altLang="en-US" sz="1400" dirty="0" smtClean="0">
                <a:solidFill>
                  <a:srgbClr val="000000"/>
                </a:solidFill>
              </a:rPr>
              <a:t> vendors, amenities, discounts, etc.</a:t>
            </a:r>
            <a:endParaRPr lang="en-US" altLang="en-US" sz="1400" b="1" dirty="0" smtClean="0">
              <a:solidFill>
                <a:srgbClr val="000000"/>
              </a:solidFill>
            </a:endParaRPr>
          </a:p>
          <a:p>
            <a:pPr marL="428625" lvl="1" indent="-171450" eaLnBrk="1" hangingPunct="1"/>
            <a:endParaRPr lang="en-US" altLang="en-US" sz="1400" dirty="0" smtClean="0">
              <a:solidFill>
                <a:srgbClr val="000000"/>
              </a:solidFill>
            </a:endParaRPr>
          </a:p>
          <a:p>
            <a:pPr marL="171450" indent="-171450" eaLnBrk="1" hangingPunct="1"/>
            <a:r>
              <a:rPr lang="en-US" altLang="en-US" b="1" dirty="0" smtClean="0">
                <a:ea typeface="ＭＳ Ｐゴシック" pitchFamily="34" charset="-128"/>
              </a:rPr>
              <a:t>Solution &amp; Results</a:t>
            </a:r>
          </a:p>
          <a:p>
            <a:pPr marL="428625" lvl="1" indent="-171450" eaLnBrk="1" hangingPunct="1"/>
            <a:r>
              <a:rPr lang="en-US" altLang="en-US" sz="1400" dirty="0" smtClean="0">
                <a:solidFill>
                  <a:srgbClr val="000000"/>
                </a:solidFill>
                <a:sym typeface="Wingdings" pitchFamily="2" charset="2"/>
              </a:rPr>
              <a:t>With Cloudant, </a:t>
            </a:r>
            <a:r>
              <a:rPr lang="en-US" altLang="en-US" sz="1400" dirty="0" err="1" smtClean="0">
                <a:solidFill>
                  <a:srgbClr val="000000"/>
                </a:solidFill>
                <a:sym typeface="Wingdings" pitchFamily="2" charset="2"/>
              </a:rPr>
              <a:t>Comdata</a:t>
            </a:r>
            <a:r>
              <a:rPr lang="en-US" altLang="en-US" sz="1400" dirty="0" smtClean="0">
                <a:solidFill>
                  <a:srgbClr val="000000"/>
                </a:solidFill>
                <a:sym typeface="Wingdings" pitchFamily="2" charset="2"/>
              </a:rPr>
              <a:t> is building the next generation of their mobile payment app</a:t>
            </a:r>
          </a:p>
          <a:p>
            <a:pPr marL="428625" lvl="1" indent="-171450" eaLnBrk="1" hangingPunct="1"/>
            <a:r>
              <a:rPr lang="en-US" altLang="en-US" sz="1400" dirty="0" err="1" smtClean="0">
                <a:solidFill>
                  <a:srgbClr val="000000"/>
                </a:solidFill>
                <a:sym typeface="Wingdings" pitchFamily="2" charset="2"/>
              </a:rPr>
              <a:t>Cloudant’s</a:t>
            </a:r>
            <a:r>
              <a:rPr lang="en-US" altLang="en-US" sz="1400" dirty="0" smtClean="0">
                <a:solidFill>
                  <a:srgbClr val="000000"/>
                </a:solidFill>
                <a:sym typeface="Wingdings" pitchFamily="2" charset="2"/>
              </a:rPr>
              <a:t> </a:t>
            </a:r>
            <a:r>
              <a:rPr lang="en-US" altLang="en-US" sz="1400" b="1" dirty="0" smtClean="0">
                <a:solidFill>
                  <a:srgbClr val="000000"/>
                </a:solidFill>
                <a:sym typeface="Wingdings" pitchFamily="2" charset="2"/>
              </a:rPr>
              <a:t>advanced geospatial capabilities </a:t>
            </a:r>
            <a:r>
              <a:rPr lang="en-US" altLang="en-US" sz="1400" dirty="0" smtClean="0">
                <a:solidFill>
                  <a:srgbClr val="000000"/>
                </a:solidFill>
                <a:sym typeface="Wingdings" pitchFamily="2" charset="2"/>
              </a:rPr>
              <a:t>give </a:t>
            </a:r>
            <a:r>
              <a:rPr lang="en-US" altLang="en-US" sz="1400" dirty="0" err="1" smtClean="0">
                <a:solidFill>
                  <a:srgbClr val="000000"/>
                </a:solidFill>
                <a:sym typeface="Wingdings" pitchFamily="2" charset="2"/>
              </a:rPr>
              <a:t>Comdata</a:t>
            </a:r>
            <a:r>
              <a:rPr lang="en-US" altLang="en-US" sz="1400" dirty="0" smtClean="0">
                <a:solidFill>
                  <a:srgbClr val="000000"/>
                </a:solidFill>
                <a:sym typeface="Wingdings" pitchFamily="2" charset="2"/>
              </a:rPr>
              <a:t> a competitive advantage in terms of the experience they can deliver to their end users </a:t>
            </a:r>
          </a:p>
          <a:p>
            <a:pPr marL="428625" lvl="1" indent="-171450" eaLnBrk="1" hangingPunct="1"/>
            <a:r>
              <a:rPr lang="en-US" altLang="en-US" sz="1400" dirty="0" err="1" smtClean="0">
                <a:solidFill>
                  <a:srgbClr val="000000"/>
                </a:solidFill>
                <a:sym typeface="Wingdings" pitchFamily="2" charset="2"/>
              </a:rPr>
              <a:t>Cloudant’s</a:t>
            </a:r>
            <a:r>
              <a:rPr lang="en-US" altLang="en-US" sz="1400" dirty="0" smtClean="0">
                <a:solidFill>
                  <a:srgbClr val="000000"/>
                </a:solidFill>
                <a:sym typeface="Wingdings" pitchFamily="2" charset="2"/>
              </a:rPr>
              <a:t> </a:t>
            </a:r>
            <a:r>
              <a:rPr lang="en-US" altLang="en-US" sz="1400" b="1" dirty="0" smtClean="0">
                <a:solidFill>
                  <a:srgbClr val="000000"/>
                </a:solidFill>
                <a:sym typeface="Wingdings" pitchFamily="2" charset="2"/>
              </a:rPr>
              <a:t>managed service </a:t>
            </a:r>
            <a:r>
              <a:rPr lang="en-US" altLang="en-US" sz="1400" dirty="0" smtClean="0">
                <a:solidFill>
                  <a:srgbClr val="000000"/>
                </a:solidFill>
                <a:sym typeface="Wingdings" pitchFamily="2" charset="2"/>
              </a:rPr>
              <a:t>means </a:t>
            </a:r>
            <a:r>
              <a:rPr lang="en-US" altLang="en-US" sz="1400" dirty="0" err="1" smtClean="0">
                <a:solidFill>
                  <a:srgbClr val="000000"/>
                </a:solidFill>
                <a:sym typeface="Wingdings" pitchFamily="2" charset="2"/>
              </a:rPr>
              <a:t>Comdata</a:t>
            </a:r>
            <a:r>
              <a:rPr lang="en-US" altLang="en-US" sz="1400" dirty="0" smtClean="0">
                <a:solidFill>
                  <a:srgbClr val="000000"/>
                </a:solidFill>
                <a:sym typeface="Wingdings" pitchFamily="2" charset="2"/>
              </a:rPr>
              <a:t> does not have to add more DBAs to support the system</a:t>
            </a:r>
          </a:p>
          <a:p>
            <a:pPr marL="428625" lvl="1" indent="-171450" eaLnBrk="1" hangingPunct="1"/>
            <a:r>
              <a:rPr lang="en-US" altLang="en-US" sz="1400" dirty="0" smtClean="0">
                <a:solidFill>
                  <a:srgbClr val="000000"/>
                </a:solidFill>
                <a:sym typeface="Wingdings" pitchFamily="2" charset="2"/>
              </a:rPr>
              <a:t>Cloudant supports the </a:t>
            </a:r>
            <a:r>
              <a:rPr lang="en-US" altLang="en-US" sz="1400" b="1" dirty="0" smtClean="0">
                <a:solidFill>
                  <a:srgbClr val="000000"/>
                </a:solidFill>
                <a:sym typeface="Wingdings" pitchFamily="2" charset="2"/>
              </a:rPr>
              <a:t>data and usage scalability </a:t>
            </a:r>
            <a:r>
              <a:rPr lang="en-US" altLang="en-US" sz="1400" dirty="0" smtClean="0">
                <a:solidFill>
                  <a:srgbClr val="000000"/>
                </a:solidFill>
                <a:sym typeface="Wingdings" pitchFamily="2" charset="2"/>
              </a:rPr>
              <a:t>that </a:t>
            </a:r>
            <a:r>
              <a:rPr lang="en-US" altLang="en-US" sz="1400" dirty="0" err="1" smtClean="0">
                <a:solidFill>
                  <a:srgbClr val="000000"/>
                </a:solidFill>
                <a:sym typeface="Wingdings" pitchFamily="2" charset="2"/>
              </a:rPr>
              <a:t>Comdata</a:t>
            </a:r>
            <a:r>
              <a:rPr lang="en-US" altLang="en-US" sz="1400" dirty="0" smtClean="0">
                <a:solidFill>
                  <a:srgbClr val="000000"/>
                </a:solidFill>
                <a:sym typeface="Wingdings" pitchFamily="2" charset="2"/>
              </a:rPr>
              <a:t> required </a:t>
            </a:r>
            <a:r>
              <a:rPr lang="en-US" altLang="en-US" sz="1400" b="1" dirty="0" smtClean="0">
                <a:solidFill>
                  <a:srgbClr val="000000"/>
                </a:solidFill>
                <a:sym typeface="Wingdings" pitchFamily="2" charset="2"/>
              </a:rPr>
              <a:t>without having to grow an on-premise hardware footprint</a:t>
            </a:r>
          </a:p>
          <a:p>
            <a:pPr marL="428625" lvl="1" indent="-171450" eaLnBrk="1" hangingPunct="1"/>
            <a:r>
              <a:rPr lang="en-US" altLang="en-US" sz="1400" dirty="0" err="1" smtClean="0">
                <a:solidFill>
                  <a:srgbClr val="000000"/>
                </a:solidFill>
                <a:sym typeface="Wingdings" pitchFamily="2" charset="2"/>
              </a:rPr>
              <a:t>Cloudant’s</a:t>
            </a:r>
            <a:r>
              <a:rPr lang="en-US" altLang="en-US" sz="1400" dirty="0" smtClean="0">
                <a:solidFill>
                  <a:srgbClr val="000000"/>
                </a:solidFill>
                <a:sym typeface="Wingdings" pitchFamily="2" charset="2"/>
              </a:rPr>
              <a:t> </a:t>
            </a:r>
            <a:r>
              <a:rPr lang="en-US" altLang="en-US" sz="1400" b="1" dirty="0" smtClean="0">
                <a:solidFill>
                  <a:srgbClr val="000000"/>
                </a:solidFill>
                <a:sym typeface="Wingdings" pitchFamily="2" charset="2"/>
              </a:rPr>
              <a:t>JSON document store</a:t>
            </a:r>
            <a:r>
              <a:rPr lang="en-US" altLang="en-US" sz="1400" dirty="0" smtClean="0">
                <a:solidFill>
                  <a:srgbClr val="000000"/>
                </a:solidFill>
                <a:sym typeface="Wingdings" pitchFamily="2" charset="2"/>
              </a:rPr>
              <a:t> supports data formatting &amp; </a:t>
            </a:r>
            <a:r>
              <a:rPr lang="en-US" altLang="en-US" sz="1400" b="1" dirty="0" smtClean="0">
                <a:solidFill>
                  <a:srgbClr val="000000"/>
                </a:solidFill>
                <a:sym typeface="Wingdings" pitchFamily="2" charset="2"/>
              </a:rPr>
              <a:t>schema flexibility </a:t>
            </a:r>
            <a:r>
              <a:rPr lang="en-US" altLang="en-US" sz="1400" dirty="0" smtClean="0">
                <a:solidFill>
                  <a:srgbClr val="000000"/>
                </a:solidFill>
                <a:sym typeface="Wingdings" pitchFamily="2" charset="2"/>
              </a:rPr>
              <a:t>enable </a:t>
            </a:r>
            <a:r>
              <a:rPr lang="en-US" altLang="en-US" sz="1400" dirty="0" err="1" smtClean="0">
                <a:solidFill>
                  <a:srgbClr val="000000"/>
                </a:solidFill>
                <a:sym typeface="Wingdings" pitchFamily="2" charset="2"/>
              </a:rPr>
              <a:t>Comdata</a:t>
            </a:r>
            <a:r>
              <a:rPr lang="en-US" altLang="en-US" sz="1400" dirty="0" smtClean="0">
                <a:solidFill>
                  <a:srgbClr val="000000"/>
                </a:solidFill>
                <a:sym typeface="Wingdings" pitchFamily="2" charset="2"/>
              </a:rPr>
              <a:t> to leverage a wide range of data sources in a single app without the costs, overhead, or latencies of ETL.</a:t>
            </a:r>
          </a:p>
          <a:p>
            <a:pPr marL="428625" lvl="1" indent="-171450" eaLnBrk="1" hangingPunct="1"/>
            <a:endParaRPr lang="en-US" altLang="en-US" sz="1400" dirty="0" smtClean="0">
              <a:solidFill>
                <a:srgbClr val="000000"/>
              </a:solidFill>
            </a:endParaRPr>
          </a:p>
          <a:p>
            <a:pPr marL="0" marR="0" indent="0" algn="l" defTabSz="914400" rtl="0" eaLnBrk="1" fontAlgn="base" latinLnBrk="0" hangingPunct="1">
              <a:lnSpc>
                <a:spcPct val="80000"/>
              </a:lnSpc>
              <a:spcBef>
                <a:spcPct val="0"/>
              </a:spcBef>
              <a:spcAft>
                <a:spcPct val="0"/>
              </a:spcAft>
              <a:buClrTx/>
              <a:buSzTx/>
              <a:buFontTx/>
              <a:buNone/>
              <a:tabLst/>
              <a:defRPr/>
            </a:pPr>
            <a:endParaRPr lang="en-US" sz="1200" kern="1200" dirty="0" smtClean="0">
              <a:solidFill>
                <a:schemeClr val="tx1"/>
              </a:solidFill>
              <a:effectLst/>
              <a:latin typeface="Arial" charset="0"/>
              <a:ea typeface="ＭＳ Ｐゴシック" charset="0"/>
              <a:cs typeface="ＭＳ Ｐゴシック" pitchFamily="34" charset="-128"/>
            </a:endParaRPr>
          </a:p>
          <a:p>
            <a:pPr eaLnBrk="1" hangingPunct="1">
              <a:lnSpc>
                <a:spcPct val="80000"/>
              </a:lnSpc>
              <a:spcBef>
                <a:spcPct val="0"/>
              </a:spcBef>
            </a:pPr>
            <a:endParaRPr lang="en-US" altLang="en-US" dirty="0" smtClean="0">
              <a:latin typeface="Arial" pitchFamily="34" charset="0"/>
              <a:ea typeface="ＭＳ Ｐゴシック" pitchFamily="34" charset="-128"/>
            </a:endParaRPr>
          </a:p>
          <a:p>
            <a:endParaRPr lang="en-US" dirty="0"/>
          </a:p>
        </p:txBody>
      </p:sp>
    </p:spTree>
    <p:extLst>
      <p:ext uri="{BB962C8B-B14F-4D97-AF65-F5344CB8AC3E}">
        <p14:creationId xmlns:p14="http://schemas.microsoft.com/office/powerpoint/2010/main" val="11855097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36281899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746349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21763289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4223700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8178" y="742950"/>
            <a:ext cx="6050844" cy="3714750"/>
          </a:xfrm>
        </p:spPr>
      </p:sp>
      <p:sp>
        <p:nvSpPr>
          <p:cNvPr id="3" name="Notes Placeholder 2"/>
          <p:cNvSpPr>
            <a:spLocks noGrp="1"/>
          </p:cNvSpPr>
          <p:nvPr>
            <p:ph type="body" idx="1"/>
          </p:nvPr>
        </p:nvSpPr>
        <p:spPr/>
        <p:txBody>
          <a:bodyPr/>
          <a:lstStyle/>
          <a:p>
            <a:r>
              <a:rPr lang="en-US" dirty="0" smtClean="0">
                <a:solidFill>
                  <a:srgbClr val="000000"/>
                </a:solidFill>
                <a:latin typeface="Helv" charset="0"/>
              </a:rPr>
              <a:t>Here</a:t>
            </a:r>
            <a:r>
              <a:rPr lang="en-US" dirty="0" smtClean="0">
                <a:solidFill>
                  <a:srgbClr val="000000"/>
                </a:solidFill>
                <a:latin typeface="Times New Roman" pitchFamily="18" charset="0"/>
              </a:rPr>
              <a:t>’</a:t>
            </a:r>
            <a:r>
              <a:rPr lang="en-US" dirty="0" smtClean="0">
                <a:solidFill>
                  <a:srgbClr val="000000"/>
                </a:solidFill>
                <a:latin typeface="Helv" charset="0"/>
              </a:rPr>
              <a:t>s an overview of what I</a:t>
            </a:r>
            <a:r>
              <a:rPr lang="en-US" dirty="0" smtClean="0">
                <a:solidFill>
                  <a:srgbClr val="000000"/>
                </a:solidFill>
                <a:latin typeface="Times New Roman" pitchFamily="18" charset="0"/>
              </a:rPr>
              <a:t>’</a:t>
            </a:r>
            <a:r>
              <a:rPr lang="en-US" dirty="0" smtClean="0">
                <a:solidFill>
                  <a:srgbClr val="000000"/>
                </a:solidFill>
                <a:latin typeface="Helv" charset="0"/>
              </a:rPr>
              <a:t>ll cover. I want to introduce the </a:t>
            </a:r>
            <a:r>
              <a:rPr lang="en-US" dirty="0" err="1" smtClean="0">
                <a:solidFill>
                  <a:srgbClr val="000000"/>
                </a:solidFill>
                <a:latin typeface="Helv" charset="0"/>
              </a:rPr>
              <a:t>BigInsights</a:t>
            </a:r>
            <a:r>
              <a:rPr lang="en-US" dirty="0" smtClean="0">
                <a:solidFill>
                  <a:srgbClr val="000000"/>
                </a:solidFill>
                <a:latin typeface="Helv" charset="0"/>
              </a:rPr>
              <a:t> on Cloud offering</a:t>
            </a:r>
            <a:r>
              <a:rPr lang="en-US" baseline="0" dirty="0" smtClean="0">
                <a:solidFill>
                  <a:srgbClr val="000000"/>
                </a:solidFill>
                <a:latin typeface="Helv" charset="0"/>
              </a:rPr>
              <a:t> and </a:t>
            </a:r>
            <a:r>
              <a:rPr lang="en-US" dirty="0" smtClean="0">
                <a:solidFill>
                  <a:srgbClr val="000000"/>
                </a:solidFill>
                <a:latin typeface="Helv" charset="0"/>
              </a:rPr>
              <a:t>some</a:t>
            </a:r>
            <a:r>
              <a:rPr lang="en-US" baseline="0" dirty="0" smtClean="0">
                <a:solidFill>
                  <a:srgbClr val="000000"/>
                </a:solidFill>
                <a:latin typeface="Helv" charset="0"/>
              </a:rPr>
              <a:t> of the use cases and value add for the customers</a:t>
            </a:r>
            <a:r>
              <a:rPr lang="en-US" dirty="0" smtClean="0">
                <a:solidFill>
                  <a:srgbClr val="000000"/>
                </a:solidFill>
                <a:latin typeface="Helv" charset="0"/>
              </a:rPr>
              <a:t>.</a:t>
            </a:r>
            <a:r>
              <a:rPr lang="en-US" baseline="0" dirty="0" smtClean="0">
                <a:solidFill>
                  <a:srgbClr val="000000"/>
                </a:solidFill>
                <a:latin typeface="Helv" charset="0"/>
              </a:rPr>
              <a:t> </a:t>
            </a:r>
            <a:r>
              <a:rPr lang="en-US" dirty="0" smtClean="0">
                <a:solidFill>
                  <a:srgbClr val="000000"/>
                </a:solidFill>
                <a:latin typeface="Helv" charset="0"/>
              </a:rPr>
              <a:t>I</a:t>
            </a:r>
            <a:r>
              <a:rPr lang="en-US" dirty="0" smtClean="0">
                <a:solidFill>
                  <a:srgbClr val="000000"/>
                </a:solidFill>
                <a:latin typeface="Times New Roman" pitchFamily="18" charset="0"/>
              </a:rPr>
              <a:t>’</a:t>
            </a:r>
            <a:r>
              <a:rPr lang="en-US" dirty="0" smtClean="0">
                <a:solidFill>
                  <a:srgbClr val="000000"/>
                </a:solidFill>
                <a:latin typeface="Helv" charset="0"/>
              </a:rPr>
              <a:t>ll cover the big picture first</a:t>
            </a:r>
            <a:r>
              <a:rPr lang="en-US" baseline="0" dirty="0" smtClean="0">
                <a:solidFill>
                  <a:srgbClr val="000000"/>
                </a:solidFill>
                <a:latin typeface="Helv" charset="0"/>
              </a:rPr>
              <a:t> and then</a:t>
            </a:r>
            <a:r>
              <a:rPr lang="en-US" dirty="0" smtClean="0">
                <a:solidFill>
                  <a:srgbClr val="000000"/>
                </a:solidFill>
                <a:latin typeface="Helv" charset="0"/>
              </a:rPr>
              <a:t> drill more deeply into </a:t>
            </a:r>
            <a:r>
              <a:rPr lang="en-US" dirty="0" err="1" smtClean="0">
                <a:solidFill>
                  <a:srgbClr val="000000"/>
                </a:solidFill>
                <a:latin typeface="Helv" charset="0"/>
              </a:rPr>
              <a:t>BigInsights</a:t>
            </a:r>
            <a:r>
              <a:rPr lang="en-US" dirty="0" smtClean="0">
                <a:solidFill>
                  <a:srgbClr val="000000"/>
                </a:solidFill>
                <a:latin typeface="Helv" charset="0"/>
              </a:rPr>
              <a:t> for Cloud, our Enterprise-Hadoop-as-a-Service offering.  Then I</a:t>
            </a:r>
            <a:r>
              <a:rPr lang="en-US" dirty="0" smtClean="0">
                <a:solidFill>
                  <a:srgbClr val="000000"/>
                </a:solidFill>
                <a:latin typeface="Times New Roman" pitchFamily="18" charset="0"/>
              </a:rPr>
              <a:t>’</a:t>
            </a:r>
            <a:r>
              <a:rPr lang="en-US" dirty="0" smtClean="0">
                <a:solidFill>
                  <a:srgbClr val="000000"/>
                </a:solidFill>
                <a:latin typeface="Helv" charset="0"/>
              </a:rPr>
              <a:t>ll wrap up by explaining how to size</a:t>
            </a:r>
            <a:r>
              <a:rPr lang="en-US" baseline="0" dirty="0" smtClean="0">
                <a:solidFill>
                  <a:srgbClr val="000000"/>
                </a:solidFill>
                <a:latin typeface="Helv" charset="0"/>
              </a:rPr>
              <a:t> and order the solution and how to actually go about selling </a:t>
            </a:r>
            <a:r>
              <a:rPr lang="en-US" baseline="0" dirty="0" err="1" smtClean="0">
                <a:solidFill>
                  <a:srgbClr val="000000"/>
                </a:solidFill>
                <a:latin typeface="Helv" charset="0"/>
              </a:rPr>
              <a:t>BigInsights</a:t>
            </a:r>
            <a:r>
              <a:rPr lang="en-US" baseline="0" dirty="0" smtClean="0">
                <a:solidFill>
                  <a:srgbClr val="000000"/>
                </a:solidFill>
                <a:latin typeface="Helv" charset="0"/>
              </a:rPr>
              <a:t> on Cloud</a:t>
            </a:r>
            <a:r>
              <a:rPr lang="en-US" dirty="0" smtClean="0">
                <a:solidFill>
                  <a:srgbClr val="000000"/>
                </a:solidFill>
                <a:latin typeface="Helv" charset="0"/>
              </a:rPr>
              <a:t>.  So let</a:t>
            </a:r>
            <a:r>
              <a:rPr lang="en-US" dirty="0" smtClean="0">
                <a:solidFill>
                  <a:srgbClr val="000000"/>
                </a:solidFill>
                <a:latin typeface="Times New Roman" pitchFamily="18" charset="0"/>
              </a:rPr>
              <a:t>’</a:t>
            </a:r>
            <a:r>
              <a:rPr lang="en-US" dirty="0" smtClean="0">
                <a:solidFill>
                  <a:srgbClr val="000000"/>
                </a:solidFill>
                <a:latin typeface="Helv" charset="0"/>
              </a:rPr>
              <a:t>s dive in . . . </a:t>
            </a:r>
            <a:endParaRPr lang="en-US" dirty="0"/>
          </a:p>
        </p:txBody>
      </p:sp>
      <p:sp>
        <p:nvSpPr>
          <p:cNvPr id="4" name="Footer Placeholder 3"/>
          <p:cNvSpPr>
            <a:spLocks noGrp="1"/>
          </p:cNvSpPr>
          <p:nvPr>
            <p:ph type="ftr" sz="quarter" idx="10"/>
          </p:nvPr>
        </p:nvSpPr>
        <p:spPr>
          <a:xfrm>
            <a:off x="0" y="9408981"/>
            <a:ext cx="2949787" cy="495300"/>
          </a:xfrm>
          <a:prstGeom prst="rect">
            <a:avLst/>
          </a:prstGeom>
        </p:spPr>
        <p:txBody>
          <a:bodyPr/>
          <a:lstStyle/>
          <a:p>
            <a:pPr>
              <a:defRPr/>
            </a:pPr>
            <a:r>
              <a:rPr lang="en-US" altLang="en-US" smtClean="0">
                <a:latin typeface="Calibri"/>
              </a:rPr>
              <a:t>IBM Analytics</a:t>
            </a:r>
            <a:br>
              <a:rPr lang="en-US" altLang="en-US" smtClean="0">
                <a:latin typeface="Calibri"/>
              </a:rPr>
            </a:br>
            <a:r>
              <a:rPr lang="en-US" altLang="en-US" smtClean="0">
                <a:latin typeface="Calibri"/>
              </a:rPr>
              <a:t>© 2015 IBM Corporation</a:t>
            </a:r>
            <a:endParaRPr lang="en-US" altLang="en-US">
              <a:latin typeface="Calibri"/>
            </a:endParaRPr>
          </a:p>
        </p:txBody>
      </p:sp>
      <p:sp>
        <p:nvSpPr>
          <p:cNvPr id="5" name="Slide Number Placeholder 4"/>
          <p:cNvSpPr>
            <a:spLocks noGrp="1"/>
          </p:cNvSpPr>
          <p:nvPr>
            <p:ph type="sldNum" sz="quarter" idx="11"/>
          </p:nvPr>
        </p:nvSpPr>
        <p:spPr>
          <a:xfrm>
            <a:off x="3855838" y="9408981"/>
            <a:ext cx="2949787" cy="495300"/>
          </a:xfrm>
          <a:prstGeom prst="rect">
            <a:avLst/>
          </a:prstGeom>
        </p:spPr>
        <p:txBody>
          <a:bodyPr/>
          <a:lstStyle/>
          <a:p>
            <a:pPr>
              <a:defRPr/>
            </a:pPr>
            <a:fld id="{A9D38496-64A5-4862-B3C5-63779F310303}" type="slidenum">
              <a:rPr lang="en-US" altLang="en-US" smtClean="0">
                <a:latin typeface="Calibri"/>
              </a:rPr>
              <a:pPr>
                <a:defRPr/>
              </a:pPr>
              <a:t>44</a:t>
            </a:fld>
            <a:endParaRPr lang="en-US" altLang="en-US">
              <a:latin typeface="Calibri"/>
            </a:endParaRPr>
          </a:p>
        </p:txBody>
      </p:sp>
    </p:spTree>
    <p:extLst>
      <p:ext uri="{BB962C8B-B14F-4D97-AF65-F5344CB8AC3E}">
        <p14:creationId xmlns:p14="http://schemas.microsoft.com/office/powerpoint/2010/main" val="126721081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Rectangle 6"/>
          <p:cNvSpPr txBox="1">
            <a:spLocks noGrp="1" noChangeArrowheads="1"/>
          </p:cNvSpPr>
          <p:nvPr/>
        </p:nvSpPr>
        <p:spPr bwMode="auto">
          <a:xfrm>
            <a:off x="0" y="9408981"/>
            <a:ext cx="29513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nchor="b"/>
          <a:lstStyle>
            <a:lvl1pPr defTabSz="893763">
              <a:defRPr sz="2400">
                <a:solidFill>
                  <a:schemeClr val="tx1"/>
                </a:solidFill>
                <a:latin typeface="Arial" pitchFamily="34" charset="0"/>
                <a:ea typeface="MS PGothic" pitchFamily="34" charset="-128"/>
              </a:defRPr>
            </a:lvl1pPr>
            <a:lvl2pPr marL="742950" indent="-285750" defTabSz="893763">
              <a:defRPr sz="2400">
                <a:solidFill>
                  <a:schemeClr val="tx1"/>
                </a:solidFill>
                <a:latin typeface="Arial" pitchFamily="34" charset="0"/>
                <a:ea typeface="MS PGothic" pitchFamily="34" charset="-128"/>
              </a:defRPr>
            </a:lvl2pPr>
            <a:lvl3pPr marL="1143000" indent="-228600" defTabSz="893763">
              <a:defRPr sz="2400">
                <a:solidFill>
                  <a:schemeClr val="tx1"/>
                </a:solidFill>
                <a:latin typeface="Arial" pitchFamily="34" charset="0"/>
                <a:ea typeface="MS PGothic" pitchFamily="34" charset="-128"/>
              </a:defRPr>
            </a:lvl3pPr>
            <a:lvl4pPr marL="1600200" indent="-228600" defTabSz="893763">
              <a:defRPr sz="2400">
                <a:solidFill>
                  <a:schemeClr val="tx1"/>
                </a:solidFill>
                <a:latin typeface="Arial" pitchFamily="34" charset="0"/>
                <a:ea typeface="MS PGothic" pitchFamily="34" charset="-128"/>
              </a:defRPr>
            </a:lvl4pPr>
            <a:lvl5pPr marL="2057400" indent="-228600" defTabSz="893763">
              <a:defRPr sz="2400">
                <a:solidFill>
                  <a:schemeClr val="tx1"/>
                </a:solidFill>
                <a:latin typeface="Arial" pitchFamily="34" charset="0"/>
                <a:ea typeface="MS PGothic" pitchFamily="34" charset="-128"/>
              </a:defRPr>
            </a:lvl5pPr>
            <a:lvl6pPr marL="25146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lang="en-US" altLang="en-US" sz="800">
                <a:solidFill>
                  <a:srgbClr val="0000FF"/>
                </a:solidFill>
              </a:rPr>
              <a:t>IBM Big Data &amp; Analytics</a:t>
            </a:r>
            <a:r>
              <a:rPr lang="en-US" altLang="en-US" sz="1200">
                <a:solidFill>
                  <a:srgbClr val="0000FF"/>
                </a:solidFill>
              </a:rPr>
              <a:t/>
            </a:r>
            <a:br>
              <a:rPr lang="en-US" altLang="en-US" sz="1200">
                <a:solidFill>
                  <a:srgbClr val="0000FF"/>
                </a:solidFill>
              </a:rPr>
            </a:br>
            <a:r>
              <a:rPr lang="en-US" altLang="en-US" sz="800">
                <a:solidFill>
                  <a:srgbClr val="0000FF"/>
                </a:solidFill>
              </a:rPr>
              <a:t>© 2013 IBM Corporation</a:t>
            </a:r>
          </a:p>
        </p:txBody>
      </p:sp>
      <p:sp>
        <p:nvSpPr>
          <p:cNvPr id="13314" name="Rectangle 7"/>
          <p:cNvSpPr txBox="1">
            <a:spLocks noGrp="1" noChangeArrowheads="1"/>
          </p:cNvSpPr>
          <p:nvPr/>
        </p:nvSpPr>
        <p:spPr bwMode="auto">
          <a:xfrm>
            <a:off x="3854262" y="9408981"/>
            <a:ext cx="2951363"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nchor="b"/>
          <a:lstStyle>
            <a:lvl1pPr defTabSz="893763">
              <a:defRPr sz="2400">
                <a:solidFill>
                  <a:schemeClr val="tx1"/>
                </a:solidFill>
                <a:latin typeface="Arial" pitchFamily="34" charset="0"/>
                <a:ea typeface="MS PGothic" pitchFamily="34" charset="-128"/>
              </a:defRPr>
            </a:lvl1pPr>
            <a:lvl2pPr marL="742950" indent="-285750" defTabSz="893763">
              <a:defRPr sz="2400">
                <a:solidFill>
                  <a:schemeClr val="tx1"/>
                </a:solidFill>
                <a:latin typeface="Arial" pitchFamily="34" charset="0"/>
                <a:ea typeface="MS PGothic" pitchFamily="34" charset="-128"/>
              </a:defRPr>
            </a:lvl2pPr>
            <a:lvl3pPr marL="1143000" indent="-228600" defTabSz="893763">
              <a:defRPr sz="2400">
                <a:solidFill>
                  <a:schemeClr val="tx1"/>
                </a:solidFill>
                <a:latin typeface="Arial" pitchFamily="34" charset="0"/>
                <a:ea typeface="MS PGothic" pitchFamily="34" charset="-128"/>
              </a:defRPr>
            </a:lvl3pPr>
            <a:lvl4pPr marL="1600200" indent="-228600" defTabSz="893763">
              <a:defRPr sz="2400">
                <a:solidFill>
                  <a:schemeClr val="tx1"/>
                </a:solidFill>
                <a:latin typeface="Arial" pitchFamily="34" charset="0"/>
                <a:ea typeface="MS PGothic" pitchFamily="34" charset="-128"/>
              </a:defRPr>
            </a:lvl4pPr>
            <a:lvl5pPr marL="2057400" indent="-228600" defTabSz="893763">
              <a:defRPr sz="2400">
                <a:solidFill>
                  <a:schemeClr val="tx1"/>
                </a:solidFill>
                <a:latin typeface="Arial" pitchFamily="34" charset="0"/>
                <a:ea typeface="MS PGothic" pitchFamily="34" charset="-128"/>
              </a:defRPr>
            </a:lvl5pPr>
            <a:lvl6pPr marL="25146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893763"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r"/>
            <a:fld id="{5752601D-75F6-4FC4-976B-820901B8F437}" type="slidenum">
              <a:rPr lang="en-US" altLang="en-US" sz="1200">
                <a:solidFill>
                  <a:srgbClr val="0000FF"/>
                </a:solidFill>
              </a:rPr>
              <a:pPr algn="r"/>
              <a:t>46</a:t>
            </a:fld>
            <a:endParaRPr lang="en-US" altLang="en-US" sz="1200">
              <a:solidFill>
                <a:srgbClr val="0000FF"/>
              </a:solidFill>
            </a:endParaRPr>
          </a:p>
        </p:txBody>
      </p:sp>
      <p:sp>
        <p:nvSpPr>
          <p:cNvPr id="13315" name="Rectangle 2"/>
          <p:cNvSpPr>
            <a:spLocks noGrp="1" noRot="1" noChangeAspect="1" noChangeArrowheads="1" noTextEdit="1"/>
          </p:cNvSpPr>
          <p:nvPr>
            <p:ph type="sldImg"/>
          </p:nvPr>
        </p:nvSpPr>
        <p:spPr>
          <a:xfrm>
            <a:off x="379754" y="751549"/>
            <a:ext cx="6046117" cy="3713030"/>
          </a:xfrm>
          <a:ln/>
          <a:extLst>
            <a:ext uri="{AF507438-7753-43E0-B8FC-AC1667EBCBE1}">
              <a14:hiddenEffects xmlns:a14="http://schemas.microsoft.com/office/drawing/2010/main">
                <a:effectLst>
                  <a:outerShdw dist="35921" dir="2700000" algn="ctr" rotWithShape="0">
                    <a:srgbClr val="808080">
                      <a:alpha val="74997"/>
                    </a:srgbClr>
                  </a:outerShdw>
                </a:effectLst>
              </a14:hiddenEffects>
            </a:ext>
            <a:ext uri="{53640926-AAD7-44D8-BBD7-CCE9431645EC}">
              <a14:shadowObscured xmlns:a14="http://schemas.microsoft.com/office/drawing/2010/main" val="1"/>
            </a:ext>
          </a:extLst>
        </p:spPr>
      </p:sp>
      <p:sp>
        <p:nvSpPr>
          <p:cNvPr id="13316" name="Rectangle 3"/>
          <p:cNvSpPr>
            <a:spLocks noGrp="1" noChangeArrowheads="1"/>
          </p:cNvSpPr>
          <p:nvPr>
            <p:ph type="body" idx="1"/>
          </p:nvPr>
        </p:nvSpPr>
        <p:spPr>
          <a:xfrm>
            <a:off x="680720" y="4703631"/>
            <a:ext cx="5445760" cy="445598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5" rIns="91429" bIns="45715"/>
          <a:lstStyle/>
          <a:p>
            <a:pPr eaLnBrk="1" hangingPunct="1"/>
            <a:endParaRPr lang="en-US" altLang="en-US" b="1" u="sng" smtClean="0">
              <a:latin typeface="Arial" pitchFamily="34" charset="0"/>
            </a:endParaRPr>
          </a:p>
        </p:txBody>
      </p:sp>
    </p:spTree>
    <p:extLst>
      <p:ext uri="{BB962C8B-B14F-4D97-AF65-F5344CB8AC3E}">
        <p14:creationId xmlns:p14="http://schemas.microsoft.com/office/powerpoint/2010/main" val="38768471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6"/>
          <p:cNvSpPr txBox="1">
            <a:spLocks noGrp="1" noChangeArrowheads="1"/>
          </p:cNvSpPr>
          <p:nvPr/>
        </p:nvSpPr>
        <p:spPr bwMode="auto">
          <a:xfrm>
            <a:off x="1" y="9408982"/>
            <a:ext cx="297294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6" tIns="45972" rIns="91946" bIns="45972"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800" dirty="0">
                <a:solidFill>
                  <a:prstClr val="black"/>
                </a:solidFill>
              </a:rPr>
              <a:t>IBM Big Data &amp; Analytics</a:t>
            </a:r>
            <a:r>
              <a:rPr lang="en-US" sz="1200" dirty="0">
                <a:solidFill>
                  <a:prstClr val="black"/>
                </a:solidFill>
              </a:rPr>
              <a:t/>
            </a:r>
            <a:br>
              <a:rPr lang="en-US" sz="1200" dirty="0">
                <a:solidFill>
                  <a:prstClr val="black"/>
                </a:solidFill>
              </a:rPr>
            </a:br>
            <a:r>
              <a:rPr lang="en-US" sz="800" dirty="0">
                <a:solidFill>
                  <a:prstClr val="black"/>
                </a:solidFill>
              </a:rPr>
              <a:t>© 2014 IBM Corporation</a:t>
            </a:r>
          </a:p>
        </p:txBody>
      </p:sp>
      <p:sp>
        <p:nvSpPr>
          <p:cNvPr id="11266" name="Rectangle 7"/>
          <p:cNvSpPr txBox="1">
            <a:spLocks noGrp="1" noChangeArrowheads="1"/>
          </p:cNvSpPr>
          <p:nvPr/>
        </p:nvSpPr>
        <p:spPr bwMode="auto">
          <a:xfrm>
            <a:off x="3882448" y="9408982"/>
            <a:ext cx="297294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6" tIns="45972" rIns="91946" bIns="45972"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6BC2C4A2-95FD-6549-B565-169EDB165509}" type="slidenum">
              <a:rPr lang="en-US" sz="1200">
                <a:solidFill>
                  <a:prstClr val="black"/>
                </a:solidFill>
              </a:rPr>
              <a:pPr algn="r"/>
              <a:t>48</a:t>
            </a:fld>
            <a:endParaRPr lang="en-US" sz="1200" dirty="0">
              <a:solidFill>
                <a:prstClr val="black"/>
              </a:solidFill>
            </a:endParaRPr>
          </a:p>
        </p:txBody>
      </p:sp>
      <p:sp>
        <p:nvSpPr>
          <p:cNvPr id="11267" name="Rectangle 6"/>
          <p:cNvSpPr txBox="1">
            <a:spLocks noGrp="1" noChangeArrowheads="1"/>
          </p:cNvSpPr>
          <p:nvPr/>
        </p:nvSpPr>
        <p:spPr bwMode="auto">
          <a:xfrm>
            <a:off x="1" y="9410700"/>
            <a:ext cx="2972945" cy="49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1" tIns="45970" rIns="91941" bIns="45970"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800" dirty="0">
                <a:solidFill>
                  <a:prstClr val="black"/>
                </a:solidFill>
              </a:rPr>
              <a:t>IBM Big Data &amp; Analytics</a:t>
            </a:r>
            <a:r>
              <a:rPr lang="en-US" sz="1300" dirty="0">
                <a:solidFill>
                  <a:prstClr val="black"/>
                </a:solidFill>
              </a:rPr>
              <a:t/>
            </a:r>
            <a:br>
              <a:rPr lang="en-US" sz="1300" dirty="0">
                <a:solidFill>
                  <a:prstClr val="black"/>
                </a:solidFill>
              </a:rPr>
            </a:br>
            <a:r>
              <a:rPr lang="en-US" sz="800" dirty="0">
                <a:solidFill>
                  <a:prstClr val="black"/>
                </a:solidFill>
              </a:rPr>
              <a:t>© 2014 IBM Corporation</a:t>
            </a:r>
          </a:p>
        </p:txBody>
      </p:sp>
      <p:sp>
        <p:nvSpPr>
          <p:cNvPr id="11268" name="Rectangle 7"/>
          <p:cNvSpPr txBox="1">
            <a:spLocks noGrp="1" noChangeArrowheads="1"/>
          </p:cNvSpPr>
          <p:nvPr/>
        </p:nvSpPr>
        <p:spPr bwMode="auto">
          <a:xfrm>
            <a:off x="3882448" y="9410700"/>
            <a:ext cx="2972945" cy="49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1" tIns="45970" rIns="91941" bIns="45970"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B24F77C5-1D3E-5142-A2F0-A7E8BF6849FF}" type="slidenum">
              <a:rPr lang="en-US" sz="1300">
                <a:solidFill>
                  <a:prstClr val="black"/>
                </a:solidFill>
              </a:rPr>
              <a:pPr algn="r"/>
              <a:t>48</a:t>
            </a:fld>
            <a:endParaRPr lang="en-US" sz="1300" dirty="0">
              <a:solidFill>
                <a:prstClr val="black"/>
              </a:solidFill>
            </a:endParaRPr>
          </a:p>
        </p:txBody>
      </p:sp>
      <p:sp>
        <p:nvSpPr>
          <p:cNvPr id="11269" name="Slide Image Placeholder 1"/>
          <p:cNvSpPr>
            <a:spLocks noGrp="1" noRot="1" noChangeAspect="1" noTextEdit="1"/>
          </p:cNvSpPr>
          <p:nvPr>
            <p:ph type="sldImg"/>
          </p:nvPr>
        </p:nvSpPr>
        <p:spPr>
          <a:xfrm>
            <a:off x="403390" y="746390"/>
            <a:ext cx="6050844" cy="3714750"/>
          </a:xfrm>
          <a:ln/>
        </p:spPr>
      </p:sp>
      <p:sp>
        <p:nvSpPr>
          <p:cNvPr id="11270" name="Notes Placeholder 2"/>
          <p:cNvSpPr>
            <a:spLocks noGrp="1"/>
          </p:cNvSpPr>
          <p:nvPr>
            <p:ph type="body" idx="1"/>
          </p:nvPr>
        </p:nvSpPr>
        <p:spPr>
          <a:xfrm>
            <a:off x="685698" y="4703631"/>
            <a:ext cx="5485583" cy="44559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90636" tIns="45317" rIns="90636" bIns="45317"/>
          <a:lstStyle/>
          <a:p>
            <a:pPr>
              <a:spcBef>
                <a:spcPts val="337"/>
              </a:spcBef>
              <a:defRPr/>
            </a:pPr>
            <a:r>
              <a:rPr lang="en-US" sz="800" dirty="0" smtClean="0">
                <a:solidFill>
                  <a:srgbClr val="000000"/>
                </a:solidFill>
                <a:latin typeface="Times New Roman"/>
                <a:ea typeface="ＭＳ Ｐゴシック"/>
                <a:cs typeface="ＭＳ Ｐゴシック"/>
              </a:rPr>
              <a:t>To solve the problem of a lack of Hadoop standards, the Open Data Platform (ODP) initiative was started by IBM and other companies investing in Hadoop. There are a few basic goals:</a:t>
            </a:r>
          </a:p>
          <a:p>
            <a:pPr>
              <a:spcBef>
                <a:spcPts val="337"/>
              </a:spcBef>
              <a:defRPr/>
            </a:pPr>
            <a:endParaRPr lang="en-US" sz="800" dirty="0" smtClean="0">
              <a:solidFill>
                <a:srgbClr val="000000"/>
              </a:solidFill>
              <a:latin typeface="Times New Roman"/>
              <a:ea typeface="ＭＳ Ｐゴシック"/>
            </a:endParaRPr>
          </a:p>
          <a:p>
            <a:pPr>
              <a:spcBef>
                <a:spcPts val="337"/>
              </a:spcBef>
              <a:defRPr/>
            </a:pPr>
            <a:r>
              <a:rPr lang="en-US" sz="800" dirty="0" smtClean="0">
                <a:solidFill>
                  <a:srgbClr val="000000"/>
                </a:solidFill>
                <a:latin typeface="Times New Roman"/>
                <a:ea typeface="ＭＳ Ｐゴシック"/>
              </a:rPr>
              <a:t>The ODP will certify a standard ODP core set of Hadoop family projects at specific versions and patch levels. The point here is to ensure these components will have the same behavior, regardless of the Hadoop </a:t>
            </a:r>
            <a:r>
              <a:rPr lang="en-US" sz="800" dirty="0" err="1" smtClean="0">
                <a:solidFill>
                  <a:srgbClr val="000000"/>
                </a:solidFill>
                <a:latin typeface="Times New Roman"/>
                <a:ea typeface="ＭＳ Ｐゴシック"/>
              </a:rPr>
              <a:t>distro</a:t>
            </a:r>
            <a:r>
              <a:rPr lang="en-US" sz="800" dirty="0" smtClean="0">
                <a:solidFill>
                  <a:srgbClr val="000000"/>
                </a:solidFill>
                <a:latin typeface="Times New Roman"/>
                <a:ea typeface="ＭＳ Ｐゴシック"/>
              </a:rPr>
              <a:t> they’re bundled in.</a:t>
            </a:r>
          </a:p>
          <a:p>
            <a:pPr>
              <a:spcBef>
                <a:spcPts val="337"/>
              </a:spcBef>
              <a:defRPr/>
            </a:pPr>
            <a:endParaRPr lang="en-US" sz="800" dirty="0" smtClean="0">
              <a:solidFill>
                <a:srgbClr val="000000"/>
              </a:solidFill>
              <a:latin typeface="Times New Roman"/>
              <a:ea typeface="ＭＳ Ｐゴシック"/>
            </a:endParaRPr>
          </a:p>
          <a:p>
            <a:pPr algn="l" defTabSz="901507" rtl="0" eaLnBrk="0" fontAlgn="base" hangingPunct="0">
              <a:lnSpc>
                <a:spcPct val="100000"/>
              </a:lnSpc>
              <a:spcBef>
                <a:spcPts val="337"/>
              </a:spcBef>
              <a:defRPr/>
            </a:pPr>
            <a:r>
              <a:rPr lang="en-US" sz="800" dirty="0" smtClean="0">
                <a:solidFill>
                  <a:srgbClr val="000000"/>
                </a:solidFill>
                <a:latin typeface="Times New Roman"/>
                <a:ea typeface="ＭＳ Ｐゴシック"/>
              </a:rPr>
              <a:t>The ODP will also develop </a:t>
            </a:r>
            <a:r>
              <a:rPr lang="en-US" sz="800" dirty="0" smtClean="0">
                <a:solidFill>
                  <a:srgbClr val="000000"/>
                </a:solidFill>
                <a:latin typeface="Arial" panose="020B0604020202020204" pitchFamily="34" charset="0"/>
                <a:cs typeface="Lubalin for IBM Book"/>
              </a:rPr>
              <a:t>tools and methods to help solution providers to test applications against the ODP Core. This is the only real code base the ODP will develop: specifically, test buckets.</a:t>
            </a:r>
          </a:p>
          <a:p>
            <a:pPr algn="l" defTabSz="901507" rtl="0" eaLnBrk="0" fontAlgn="base" hangingPunct="0">
              <a:lnSpc>
                <a:spcPct val="100000"/>
              </a:lnSpc>
              <a:spcBef>
                <a:spcPts val="337"/>
              </a:spcBef>
              <a:defRPr/>
            </a:pPr>
            <a:endParaRPr lang="en-US" sz="800" dirty="0" smtClean="0">
              <a:solidFill>
                <a:srgbClr val="000000"/>
              </a:solidFill>
              <a:latin typeface="Arial" panose="020B0604020202020204" pitchFamily="34" charset="0"/>
              <a:cs typeface="Lubalin for IBM Book"/>
            </a:endParaRPr>
          </a:p>
          <a:p>
            <a:pPr algn="l" defTabSz="901507" rtl="0" eaLnBrk="0" fontAlgn="base" hangingPunct="0">
              <a:lnSpc>
                <a:spcPct val="100000"/>
              </a:lnSpc>
              <a:spcBef>
                <a:spcPts val="337"/>
              </a:spcBef>
              <a:defRPr/>
            </a:pPr>
            <a:r>
              <a:rPr lang="en-US" sz="800" dirty="0" smtClean="0">
                <a:solidFill>
                  <a:srgbClr val="000000"/>
                </a:solidFill>
                <a:latin typeface="Arial" panose="020B0604020202020204" pitchFamily="34" charset="0"/>
                <a:cs typeface="Lubalin for IBM Book"/>
              </a:rPr>
              <a:t>The ODP will ensure that any changes needed in the Hadoop components are contributed back to the appropriate ASF project, using the ASF processes. That might seem like an obvious thing, but one common practice has been for vendors to apply their own patches. These patches sometimes never make their way into Apache, or they may be checked into Apache, but  aren’t associated with the release branches. Bottom line, this isn’t helpful to the community, and the ODP is committed to supporting the ASF.</a:t>
            </a:r>
          </a:p>
          <a:p>
            <a:pPr algn="l" defTabSz="901507" rtl="0" eaLnBrk="0" fontAlgn="base" hangingPunct="0">
              <a:lnSpc>
                <a:spcPct val="100000"/>
              </a:lnSpc>
              <a:spcBef>
                <a:spcPts val="337"/>
              </a:spcBef>
              <a:defRPr/>
            </a:pPr>
            <a:endParaRPr lang="en-US" sz="800" dirty="0" smtClean="0">
              <a:solidFill>
                <a:srgbClr val="000000"/>
              </a:solidFill>
              <a:latin typeface="Arial" panose="020B0604020202020204" pitchFamily="34" charset="0"/>
              <a:cs typeface="Lubalin for IBM Book"/>
            </a:endParaRPr>
          </a:p>
          <a:p>
            <a:pPr algn="l" defTabSz="901507" rtl="0" eaLnBrk="0" fontAlgn="base" hangingPunct="0">
              <a:lnSpc>
                <a:spcPct val="100000"/>
              </a:lnSpc>
              <a:spcBef>
                <a:spcPts val="337"/>
              </a:spcBef>
              <a:defRPr/>
            </a:pPr>
            <a:r>
              <a:rPr lang="en-US" sz="800" dirty="0" smtClean="0">
                <a:solidFill>
                  <a:srgbClr val="000000"/>
                </a:solidFill>
                <a:latin typeface="Arial" panose="020B0604020202020204" pitchFamily="34" charset="0"/>
                <a:cs typeface="Lubalin for IBM Book"/>
              </a:rPr>
              <a:t>These goals all point to the greater goal for the ODP, which is captured in their slogan: “Enabling Big Data solutions to flourish atop a common core platform.“</a:t>
            </a:r>
          </a:p>
        </p:txBody>
      </p:sp>
      <p:sp>
        <p:nvSpPr>
          <p:cNvPr id="11271" name="Slide Number Placeholder 3"/>
          <p:cNvSpPr txBox="1">
            <a:spLocks noGrp="1"/>
          </p:cNvSpPr>
          <p:nvPr/>
        </p:nvSpPr>
        <p:spPr bwMode="auto">
          <a:xfrm>
            <a:off x="3884035" y="9412422"/>
            <a:ext cx="2971358" cy="491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636" tIns="45317" rIns="90636" bIns="45317" anchor="b"/>
          <a:lstStyle>
            <a:lvl1pPr defTabSz="927100">
              <a:defRPr sz="2400">
                <a:solidFill>
                  <a:schemeClr val="tx1"/>
                </a:solidFill>
                <a:latin typeface="Arial" charset="0"/>
                <a:ea typeface="MS PGothic" charset="0"/>
                <a:cs typeface="MS PGothic" charset="0"/>
              </a:defRPr>
            </a:lvl1pPr>
            <a:lvl2pPr marL="742950" indent="-285750" defTabSz="927100">
              <a:defRPr sz="2400">
                <a:solidFill>
                  <a:schemeClr val="tx1"/>
                </a:solidFill>
                <a:latin typeface="Arial" charset="0"/>
                <a:ea typeface="MS PGothic" charset="0"/>
                <a:cs typeface="MS PGothic" charset="0"/>
              </a:defRPr>
            </a:lvl2pPr>
            <a:lvl3pPr marL="1143000" indent="-228600" defTabSz="927100">
              <a:defRPr sz="2400">
                <a:solidFill>
                  <a:schemeClr val="tx1"/>
                </a:solidFill>
                <a:latin typeface="Arial" charset="0"/>
                <a:ea typeface="MS PGothic" charset="0"/>
                <a:cs typeface="MS PGothic" charset="0"/>
              </a:defRPr>
            </a:lvl3pPr>
            <a:lvl4pPr marL="1600200" indent="-228600" defTabSz="927100">
              <a:defRPr sz="2400">
                <a:solidFill>
                  <a:schemeClr val="tx1"/>
                </a:solidFill>
                <a:latin typeface="Arial" charset="0"/>
                <a:ea typeface="MS PGothic" charset="0"/>
                <a:cs typeface="MS PGothic" charset="0"/>
              </a:defRPr>
            </a:lvl4pPr>
            <a:lvl5pPr marL="2057400" indent="-228600" defTabSz="927100">
              <a:defRPr sz="2400">
                <a:solidFill>
                  <a:schemeClr val="tx1"/>
                </a:solidFill>
                <a:latin typeface="Arial" charset="0"/>
                <a:ea typeface="MS PGothic" charset="0"/>
                <a:cs typeface="MS PGothic" charset="0"/>
              </a:defRPr>
            </a:lvl5pPr>
            <a:lvl6pPr marL="25146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FDDEF15A-FBFE-1946-B790-5D305A2D842D}" type="slidenum">
              <a:rPr lang="en-US" sz="1300">
                <a:solidFill>
                  <a:prstClr val="black"/>
                </a:solidFill>
                <a:latin typeface="Calibri" charset="0"/>
                <a:ea typeface="ヒラギノ角ゴ Pro W3" charset="0"/>
                <a:cs typeface="ヒラギノ角ゴ Pro W3" charset="0"/>
              </a:rPr>
              <a:pPr algn="r"/>
              <a:t>48</a:t>
            </a:fld>
            <a:endParaRPr lang="en-US" sz="1300" dirty="0">
              <a:solidFill>
                <a:prstClr val="black"/>
              </a:solidFill>
              <a:latin typeface="Calibri" charset="0"/>
              <a:ea typeface="ヒラギノ角ゴ Pro W3" charset="0"/>
              <a:cs typeface="ヒラギノ角ゴ Pro W3" charset="0"/>
            </a:endParaRPr>
          </a:p>
        </p:txBody>
      </p:sp>
    </p:spTree>
    <p:extLst>
      <p:ext uri="{BB962C8B-B14F-4D97-AF65-F5344CB8AC3E}">
        <p14:creationId xmlns:p14="http://schemas.microsoft.com/office/powerpoint/2010/main" val="30339621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151" tIns="45075" rIns="90151" bIns="45075"/>
          <a:lstStyle/>
          <a:p>
            <a:pPr eaLnBrk="1" hangingPunct="1"/>
            <a:r>
              <a:rPr lang="en-US" altLang="en-US" dirty="0" smtClean="0"/>
              <a:t>This</a:t>
            </a:r>
            <a:r>
              <a:rPr lang="en-US" altLang="en-US" baseline="0" dirty="0" smtClean="0"/>
              <a:t> brings us to what IBM is doing with Hadoop and Spark.</a:t>
            </a:r>
          </a:p>
          <a:p>
            <a:pPr eaLnBrk="1" hangingPunct="1"/>
            <a:endParaRPr lang="en-US" altLang="en-US" baseline="0" dirty="0" smtClean="0"/>
          </a:p>
          <a:p>
            <a:pPr eaLnBrk="1" hangingPunct="1"/>
            <a:r>
              <a:rPr lang="en-US" altLang="en-US" baseline="0" dirty="0" smtClean="0"/>
              <a:t>In early 2015, IBM radically changed its Hadoop strategy. Customers wanting to use IBM’s Hadoop distribution now have the ability to download what’s called the IBM Open Platform with Apache Hadoop (IOP) and use it for free in production. Everything in this package is 100% open source, including Apache Spark. Before, IBM BigInsights was a complete package, which combined the open source components with IBM’s capabilities, like Big SQL. Also, the Hadoop development team in IBM has adapted different techniques to ensure that the open source components themselves will be updated much more quickly, with a goal of four weeks delta from new project release to being available in IOP.</a:t>
            </a:r>
          </a:p>
          <a:p>
            <a:pPr eaLnBrk="1" hangingPunct="1"/>
            <a:endParaRPr lang="en-US" altLang="en-US" baseline="0" dirty="0" smtClean="0"/>
          </a:p>
          <a:p>
            <a:pPr eaLnBrk="1" hangingPunct="1"/>
            <a:r>
              <a:rPr lang="en-US" altLang="en-US" baseline="0" dirty="0" smtClean="0"/>
              <a:t>One huge change here is that IOP includes Apache Ambari, which is a Hadoop installation and administration toolkit. This replaced the old BigInsights Console. Again, this shows IBM’s buy-in to the open source Hadoop movement, which is to say, that wherever it makes sense, we’ll align ourselves with open source options rather than “only invented by IBM solutions”. Also, Ambari is very well suited to dealing with modular components, which is common in Hadoop deployments.</a:t>
            </a:r>
          </a:p>
          <a:p>
            <a:pPr eaLnBrk="1" hangingPunct="1"/>
            <a:endParaRPr lang="en-US" altLang="en-US" baseline="0" dirty="0" smtClean="0"/>
          </a:p>
          <a:p>
            <a:pPr eaLnBrk="1" hangingPunct="1"/>
            <a:r>
              <a:rPr lang="en-US" altLang="en-US" baseline="0" dirty="0" smtClean="0"/>
              <a:t>IBM also offers a support plan for IOP for those who want it.</a:t>
            </a:r>
          </a:p>
          <a:p>
            <a:pPr eaLnBrk="1" hangingPunct="1"/>
            <a:endParaRPr lang="en-US" altLang="en-US" baseline="0" dirty="0" smtClean="0"/>
          </a:p>
          <a:p>
            <a:pPr eaLnBrk="1" hangingPunct="1"/>
            <a:r>
              <a:rPr lang="en-US" altLang="en-US" baseline="0" dirty="0" smtClean="0"/>
              <a:t>In short, for customers who only want a pure open source Hadoop offering, we can now offer that, with support.</a:t>
            </a:r>
            <a:endParaRPr lang="en-US" altLang="en-US" dirty="0" smtClean="0"/>
          </a:p>
          <a:p>
            <a:endParaRPr lang="en-US" dirty="0"/>
          </a:p>
        </p:txBody>
      </p:sp>
      <p:sp>
        <p:nvSpPr>
          <p:cNvPr id="4" name="Slide Number Placeholder 3"/>
          <p:cNvSpPr>
            <a:spLocks noGrp="1"/>
          </p:cNvSpPr>
          <p:nvPr>
            <p:ph type="sldNum" sz="quarter" idx="10"/>
          </p:nvPr>
        </p:nvSpPr>
        <p:spPr>
          <a:xfrm>
            <a:off x="3856273" y="9409684"/>
            <a:ext cx="2949372" cy="494623"/>
          </a:xfrm>
          <a:prstGeom prst="rect">
            <a:avLst/>
          </a:prstGeom>
        </p:spPr>
        <p:txBody>
          <a:bodyPr lIns="90151" tIns="45075" rIns="90151" bIns="45075"/>
          <a:lstStyle/>
          <a:p>
            <a:fld id="{67149A0B-C2B1-4D49-B0EC-430DCFCE1390}" type="slidenum">
              <a:rPr lang="en-US" smtClean="0">
                <a:latin typeface="Calibri"/>
              </a:rPr>
              <a:pPr/>
              <a:t>50</a:t>
            </a:fld>
            <a:endParaRPr lang="en-US">
              <a:latin typeface="Calibri"/>
            </a:endParaRPr>
          </a:p>
        </p:txBody>
      </p:sp>
    </p:spTree>
    <p:extLst>
      <p:ext uri="{BB962C8B-B14F-4D97-AF65-F5344CB8AC3E}">
        <p14:creationId xmlns:p14="http://schemas.microsoft.com/office/powerpoint/2010/main" val="264919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151" tIns="45075" rIns="90151" bIns="45075"/>
          <a:lstStyle/>
          <a:p>
            <a:pPr eaLnBrk="1" hangingPunct="1"/>
            <a:r>
              <a:rPr lang="en-US" altLang="en-US" dirty="0" smtClean="0"/>
              <a:t>This</a:t>
            </a:r>
            <a:r>
              <a:rPr lang="en-US" altLang="en-US" baseline="0" dirty="0" smtClean="0"/>
              <a:t> brings us to what IBM is doing with Hadoop and Spark.</a:t>
            </a:r>
          </a:p>
          <a:p>
            <a:pPr eaLnBrk="1" hangingPunct="1"/>
            <a:endParaRPr lang="en-US" altLang="en-US" baseline="0" dirty="0" smtClean="0"/>
          </a:p>
          <a:p>
            <a:pPr eaLnBrk="1" hangingPunct="1"/>
            <a:r>
              <a:rPr lang="en-US" altLang="en-US" baseline="0" dirty="0" smtClean="0"/>
              <a:t>In early 2015, IBM radically changed its Hadoop strategy. Customers wanting to use IBM’s Hadoop distribution now have the ability to download what’s called the IBM Open Platform with Apache Hadoop (IOP) and use it for free in production. Everything in this package is 100% open source, including Apache Spark. Before, IBM BigInsights was a complete package, which combined the open source components with IBM’s capabilities, like Big SQL. Also, the Hadoop development team in IBM has adapted different techniques to ensure that the open source components themselves will be updated much more quickly, with a goal of four weeks delta from new project release to being available in IOP.</a:t>
            </a:r>
          </a:p>
          <a:p>
            <a:pPr eaLnBrk="1" hangingPunct="1"/>
            <a:endParaRPr lang="en-US" altLang="en-US" baseline="0" dirty="0" smtClean="0"/>
          </a:p>
          <a:p>
            <a:pPr eaLnBrk="1" hangingPunct="1"/>
            <a:r>
              <a:rPr lang="en-US" altLang="en-US" baseline="0" dirty="0" smtClean="0"/>
              <a:t>One huge change here is that IOP includes Apache Ambari, which is a Hadoop installation and administration toolkit. This replaced the old BigInsights Console. Again, this shows IBM’s buy-in to the open source Hadoop movement, which is to say, that wherever it makes sense, we’ll align ourselves with open source options rather than “only invented by IBM solutions”. Also, Ambari is very well suited to dealing with modular components, which is common in Hadoop deployments.</a:t>
            </a:r>
          </a:p>
          <a:p>
            <a:pPr eaLnBrk="1" hangingPunct="1"/>
            <a:endParaRPr lang="en-US" altLang="en-US" baseline="0" dirty="0" smtClean="0"/>
          </a:p>
          <a:p>
            <a:pPr eaLnBrk="1" hangingPunct="1"/>
            <a:r>
              <a:rPr lang="en-US" altLang="en-US" baseline="0" dirty="0" smtClean="0"/>
              <a:t>IBM also offers a support plan for IOP for those who want it.</a:t>
            </a:r>
          </a:p>
          <a:p>
            <a:pPr eaLnBrk="1" hangingPunct="1"/>
            <a:endParaRPr lang="en-US" altLang="en-US" baseline="0" dirty="0" smtClean="0"/>
          </a:p>
          <a:p>
            <a:pPr eaLnBrk="1" hangingPunct="1"/>
            <a:r>
              <a:rPr lang="en-US" altLang="en-US" baseline="0" smtClean="0"/>
              <a:t>In short, for customers who only want a pure open source Hadoop offering, we can now offer that, with support.</a:t>
            </a:r>
            <a:endParaRPr lang="en-US" altLang="en-US" smtClean="0"/>
          </a:p>
          <a:p>
            <a:endParaRPr lang="en-US"/>
          </a:p>
        </p:txBody>
      </p:sp>
      <p:sp>
        <p:nvSpPr>
          <p:cNvPr id="4" name="Slide Number Placeholder 3"/>
          <p:cNvSpPr>
            <a:spLocks noGrp="1"/>
          </p:cNvSpPr>
          <p:nvPr>
            <p:ph type="sldNum" sz="quarter" idx="10"/>
          </p:nvPr>
        </p:nvSpPr>
        <p:spPr>
          <a:xfrm>
            <a:off x="3856273" y="9409684"/>
            <a:ext cx="2949372" cy="494623"/>
          </a:xfrm>
          <a:prstGeom prst="rect">
            <a:avLst/>
          </a:prstGeom>
        </p:spPr>
        <p:txBody>
          <a:bodyPr lIns="90151" tIns="45075" rIns="90151" bIns="45075"/>
          <a:lstStyle/>
          <a:p>
            <a:fld id="{67149A0B-C2B1-4D49-B0EC-430DCFCE1390}" type="slidenum">
              <a:rPr lang="en-US" smtClean="0">
                <a:latin typeface="Calibri"/>
              </a:rPr>
              <a:pPr/>
              <a:t>51</a:t>
            </a:fld>
            <a:endParaRPr lang="en-US">
              <a:latin typeface="Calibri"/>
            </a:endParaRPr>
          </a:p>
        </p:txBody>
      </p:sp>
    </p:spTree>
    <p:extLst>
      <p:ext uri="{BB962C8B-B14F-4D97-AF65-F5344CB8AC3E}">
        <p14:creationId xmlns:p14="http://schemas.microsoft.com/office/powerpoint/2010/main" val="32118263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6"/>
          <p:cNvSpPr txBox="1">
            <a:spLocks noGrp="1" noChangeArrowheads="1"/>
          </p:cNvSpPr>
          <p:nvPr/>
        </p:nvSpPr>
        <p:spPr bwMode="auto">
          <a:xfrm>
            <a:off x="1" y="9408982"/>
            <a:ext cx="297294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6" tIns="45972" rIns="91946" bIns="45972"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800" dirty="0">
                <a:solidFill>
                  <a:prstClr val="black"/>
                </a:solidFill>
              </a:rPr>
              <a:t>IBM Big Data &amp; Analytics</a:t>
            </a:r>
            <a:r>
              <a:rPr lang="en-US" sz="1200" dirty="0">
                <a:solidFill>
                  <a:prstClr val="black"/>
                </a:solidFill>
              </a:rPr>
              <a:t/>
            </a:r>
            <a:br>
              <a:rPr lang="en-US" sz="1200" dirty="0">
                <a:solidFill>
                  <a:prstClr val="black"/>
                </a:solidFill>
              </a:rPr>
            </a:br>
            <a:r>
              <a:rPr lang="en-US" sz="800" dirty="0">
                <a:solidFill>
                  <a:prstClr val="black"/>
                </a:solidFill>
              </a:rPr>
              <a:t>© 2014 IBM Corporation</a:t>
            </a:r>
          </a:p>
        </p:txBody>
      </p:sp>
      <p:sp>
        <p:nvSpPr>
          <p:cNvPr id="11266" name="Rectangle 7"/>
          <p:cNvSpPr txBox="1">
            <a:spLocks noGrp="1" noChangeArrowheads="1"/>
          </p:cNvSpPr>
          <p:nvPr/>
        </p:nvSpPr>
        <p:spPr bwMode="auto">
          <a:xfrm>
            <a:off x="3882448" y="9408982"/>
            <a:ext cx="297294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6" tIns="45972" rIns="91946" bIns="45972"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6BC2C4A2-95FD-6549-B565-169EDB165509}" type="slidenum">
              <a:rPr lang="en-US" sz="1200">
                <a:solidFill>
                  <a:prstClr val="black"/>
                </a:solidFill>
              </a:rPr>
              <a:pPr algn="r"/>
              <a:t>53</a:t>
            </a:fld>
            <a:endParaRPr lang="en-US" sz="1200" dirty="0">
              <a:solidFill>
                <a:prstClr val="black"/>
              </a:solidFill>
            </a:endParaRPr>
          </a:p>
        </p:txBody>
      </p:sp>
      <p:sp>
        <p:nvSpPr>
          <p:cNvPr id="11267" name="Rectangle 6"/>
          <p:cNvSpPr txBox="1">
            <a:spLocks noGrp="1" noChangeArrowheads="1"/>
          </p:cNvSpPr>
          <p:nvPr/>
        </p:nvSpPr>
        <p:spPr bwMode="auto">
          <a:xfrm>
            <a:off x="1" y="9410700"/>
            <a:ext cx="2972945" cy="49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1" tIns="45970" rIns="91941" bIns="45970"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r>
              <a:rPr lang="en-US" sz="800" dirty="0">
                <a:solidFill>
                  <a:prstClr val="black"/>
                </a:solidFill>
              </a:rPr>
              <a:t>IBM Big Data &amp; Analytics</a:t>
            </a:r>
            <a:r>
              <a:rPr lang="en-US" sz="1300" dirty="0">
                <a:solidFill>
                  <a:prstClr val="black"/>
                </a:solidFill>
              </a:rPr>
              <a:t/>
            </a:r>
            <a:br>
              <a:rPr lang="en-US" sz="1300" dirty="0">
                <a:solidFill>
                  <a:prstClr val="black"/>
                </a:solidFill>
              </a:rPr>
            </a:br>
            <a:r>
              <a:rPr lang="en-US" sz="800" dirty="0">
                <a:solidFill>
                  <a:prstClr val="black"/>
                </a:solidFill>
              </a:rPr>
              <a:t>© 2014 IBM Corporation</a:t>
            </a:r>
          </a:p>
        </p:txBody>
      </p:sp>
      <p:sp>
        <p:nvSpPr>
          <p:cNvPr id="11268" name="Rectangle 7"/>
          <p:cNvSpPr txBox="1">
            <a:spLocks noGrp="1" noChangeArrowheads="1"/>
          </p:cNvSpPr>
          <p:nvPr/>
        </p:nvSpPr>
        <p:spPr bwMode="auto">
          <a:xfrm>
            <a:off x="3882448" y="9410700"/>
            <a:ext cx="2972945" cy="493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941" tIns="45970" rIns="91941" bIns="45970" anchor="b"/>
          <a:lstStyle>
            <a:lvl1pPr defTabSz="941388">
              <a:defRPr sz="2400">
                <a:solidFill>
                  <a:schemeClr val="tx1"/>
                </a:solidFill>
                <a:latin typeface="Arial" charset="0"/>
                <a:ea typeface="MS PGothic" charset="0"/>
                <a:cs typeface="MS PGothic" charset="0"/>
              </a:defRPr>
            </a:lvl1pPr>
            <a:lvl2pPr marL="742950" indent="-285750" defTabSz="941388">
              <a:defRPr sz="2400">
                <a:solidFill>
                  <a:schemeClr val="tx1"/>
                </a:solidFill>
                <a:latin typeface="Arial" charset="0"/>
                <a:ea typeface="MS PGothic" charset="0"/>
                <a:cs typeface="MS PGothic" charset="0"/>
              </a:defRPr>
            </a:lvl2pPr>
            <a:lvl3pPr marL="1143000" indent="-228600" defTabSz="941388">
              <a:defRPr sz="2400">
                <a:solidFill>
                  <a:schemeClr val="tx1"/>
                </a:solidFill>
                <a:latin typeface="Arial" charset="0"/>
                <a:ea typeface="MS PGothic" charset="0"/>
                <a:cs typeface="MS PGothic" charset="0"/>
              </a:defRPr>
            </a:lvl3pPr>
            <a:lvl4pPr marL="1600200" indent="-228600" defTabSz="941388">
              <a:defRPr sz="2400">
                <a:solidFill>
                  <a:schemeClr val="tx1"/>
                </a:solidFill>
                <a:latin typeface="Arial" charset="0"/>
                <a:ea typeface="MS PGothic" charset="0"/>
                <a:cs typeface="MS PGothic" charset="0"/>
              </a:defRPr>
            </a:lvl4pPr>
            <a:lvl5pPr marL="2057400" indent="-228600" defTabSz="941388">
              <a:defRPr sz="2400">
                <a:solidFill>
                  <a:schemeClr val="tx1"/>
                </a:solidFill>
                <a:latin typeface="Arial" charset="0"/>
                <a:ea typeface="MS PGothic" charset="0"/>
                <a:cs typeface="MS PGothic" charset="0"/>
              </a:defRPr>
            </a:lvl5pPr>
            <a:lvl6pPr marL="25146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41388"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B24F77C5-1D3E-5142-A2F0-A7E8BF6849FF}" type="slidenum">
              <a:rPr lang="en-US" sz="1300">
                <a:solidFill>
                  <a:prstClr val="black"/>
                </a:solidFill>
              </a:rPr>
              <a:pPr algn="r"/>
              <a:t>53</a:t>
            </a:fld>
            <a:endParaRPr lang="en-US" sz="1300" dirty="0">
              <a:solidFill>
                <a:prstClr val="black"/>
              </a:solidFill>
            </a:endParaRPr>
          </a:p>
        </p:txBody>
      </p:sp>
      <p:sp>
        <p:nvSpPr>
          <p:cNvPr id="11269" name="Slide Image Placeholder 1"/>
          <p:cNvSpPr>
            <a:spLocks noGrp="1" noRot="1" noChangeAspect="1" noTextEdit="1"/>
          </p:cNvSpPr>
          <p:nvPr>
            <p:ph type="sldImg"/>
          </p:nvPr>
        </p:nvSpPr>
        <p:spPr>
          <a:xfrm>
            <a:off x="403390" y="746390"/>
            <a:ext cx="6050844" cy="3714750"/>
          </a:xfrm>
          <a:ln/>
        </p:spPr>
      </p:sp>
      <p:sp>
        <p:nvSpPr>
          <p:cNvPr id="11270" name="Notes Placeholder 2"/>
          <p:cNvSpPr>
            <a:spLocks noGrp="1"/>
          </p:cNvSpPr>
          <p:nvPr>
            <p:ph type="body" idx="1"/>
          </p:nvPr>
        </p:nvSpPr>
        <p:spPr>
          <a:xfrm>
            <a:off x="685698" y="4703631"/>
            <a:ext cx="5485583" cy="445598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90636" tIns="45317" rIns="90636" bIns="45317"/>
          <a:lstStyle/>
          <a:p>
            <a:pPr algn="l" defTabSz="901507" rtl="0" eaLnBrk="0" fontAlgn="base" hangingPunct="0">
              <a:lnSpc>
                <a:spcPct val="100000"/>
              </a:lnSpc>
              <a:spcBef>
                <a:spcPct val="30000"/>
              </a:spcBef>
              <a:spcAft>
                <a:spcPct val="0"/>
              </a:spcAft>
              <a:defRPr/>
            </a:pPr>
            <a:r>
              <a:rPr lang="en-US" altLang="en-US" sz="800" dirty="0" smtClean="0">
                <a:latin typeface="Arial" panose="020B0604020202020204" pitchFamily="34" charset="0"/>
              </a:rPr>
              <a:t>We’ve talked about the </a:t>
            </a:r>
            <a:r>
              <a:rPr lang="en-US" altLang="en-US" sz="800" dirty="0" smtClean="0">
                <a:solidFill>
                  <a:schemeClr val="tx1"/>
                </a:solidFill>
              </a:rPr>
              <a:t>IBM Open Platform with Apache Hadoop as IBM’s 100% open source Hadoop distribution. But what about BigInsights?</a:t>
            </a:r>
          </a:p>
          <a:p>
            <a:pPr algn="l" defTabSz="901507" rtl="0" eaLnBrk="0" fontAlgn="base" hangingPunct="0">
              <a:lnSpc>
                <a:spcPct val="100000"/>
              </a:lnSpc>
              <a:spcBef>
                <a:spcPct val="30000"/>
              </a:spcBef>
              <a:spcAft>
                <a:spcPct val="0"/>
              </a:spcAft>
              <a:defRPr/>
            </a:pPr>
            <a:endParaRPr lang="en-US" altLang="en-US" sz="800" dirty="0" smtClean="0">
              <a:solidFill>
                <a:schemeClr val="tx1"/>
              </a:solidFill>
            </a:endParaRPr>
          </a:p>
          <a:p>
            <a:pPr algn="l" defTabSz="901507" rtl="0" eaLnBrk="0" fontAlgn="base" hangingPunct="0">
              <a:lnSpc>
                <a:spcPct val="100000"/>
              </a:lnSpc>
              <a:spcBef>
                <a:spcPct val="30000"/>
              </a:spcBef>
              <a:spcAft>
                <a:spcPct val="0"/>
              </a:spcAft>
              <a:defRPr/>
            </a:pPr>
            <a:r>
              <a:rPr lang="en-US" altLang="en-US" sz="800" dirty="0" smtClean="0">
                <a:solidFill>
                  <a:schemeClr val="tx1"/>
                </a:solidFill>
              </a:rPr>
              <a:t>BigInsights is now a modular offering. The base module is IOP – the free Hadoop layer. On top of the Hadoop layer, we have three other modules: BigInsights Analyst, BigInsights Data Scientist, and BigInsights Enterprise Management. Each module is tailored for specific kinds of business value. BigInsights Analyst is geared for data analyst types, and includes Big SQL and BigSheets. BigInsights Data Scientist includes these capabilities, and also the IBM Text Analytics toolkit, Big R, and IBM’s scalable machine learning libraries.</a:t>
            </a:r>
            <a:r>
              <a:rPr lang="en-US" altLang="en-US" sz="800" dirty="0" smtClean="0">
                <a:solidFill>
                  <a:schemeClr val="tx1"/>
                </a:solidFill>
                <a:latin typeface="Arial" panose="020B0604020202020204" pitchFamily="34" charset="0"/>
              </a:rPr>
              <a:t> Finally, the BigInsights Enterprise Management module features GPFS, which is a POSIX-compliant file system alternative to HDFS, and Platform Symphony, which offers an alternative scheduler that can plug into the YARN scheduler.</a:t>
            </a:r>
          </a:p>
          <a:p>
            <a:pPr algn="l" defTabSz="901507" rtl="0" eaLnBrk="0" fontAlgn="base" hangingPunct="0">
              <a:lnSpc>
                <a:spcPct val="100000"/>
              </a:lnSpc>
              <a:spcBef>
                <a:spcPct val="30000"/>
              </a:spcBef>
              <a:spcAft>
                <a:spcPct val="0"/>
              </a:spcAft>
              <a:defRPr/>
            </a:pPr>
            <a:endParaRPr lang="en-US" altLang="en-US" sz="800" dirty="0" smtClean="0">
              <a:solidFill>
                <a:schemeClr val="tx1"/>
              </a:solidFill>
              <a:latin typeface="Arial" panose="020B0604020202020204" pitchFamily="34" charset="0"/>
            </a:endParaRPr>
          </a:p>
          <a:p>
            <a:pPr algn="l" defTabSz="901507" rtl="0" eaLnBrk="0" fontAlgn="base" hangingPunct="0">
              <a:lnSpc>
                <a:spcPct val="100000"/>
              </a:lnSpc>
              <a:spcBef>
                <a:spcPct val="30000"/>
              </a:spcBef>
              <a:spcAft>
                <a:spcPct val="0"/>
              </a:spcAft>
              <a:defRPr/>
            </a:pPr>
            <a:r>
              <a:rPr lang="en-US" altLang="en-US" sz="800" dirty="0" smtClean="0">
                <a:solidFill>
                  <a:schemeClr val="tx1"/>
                </a:solidFill>
                <a:latin typeface="Arial" panose="020B0604020202020204" pitchFamily="34" charset="0"/>
              </a:rPr>
              <a:t>One quick note: when people buy the modules on top of IOP, they will need to purchase a support contract for IOP itself.</a:t>
            </a:r>
          </a:p>
        </p:txBody>
      </p:sp>
      <p:sp>
        <p:nvSpPr>
          <p:cNvPr id="11271" name="Slide Number Placeholder 3"/>
          <p:cNvSpPr txBox="1">
            <a:spLocks noGrp="1"/>
          </p:cNvSpPr>
          <p:nvPr/>
        </p:nvSpPr>
        <p:spPr bwMode="auto">
          <a:xfrm>
            <a:off x="3884035" y="9412422"/>
            <a:ext cx="2971358" cy="491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636" tIns="45317" rIns="90636" bIns="45317" anchor="b"/>
          <a:lstStyle>
            <a:lvl1pPr defTabSz="927100">
              <a:defRPr sz="2400">
                <a:solidFill>
                  <a:schemeClr val="tx1"/>
                </a:solidFill>
                <a:latin typeface="Arial" charset="0"/>
                <a:ea typeface="MS PGothic" charset="0"/>
                <a:cs typeface="MS PGothic" charset="0"/>
              </a:defRPr>
            </a:lvl1pPr>
            <a:lvl2pPr marL="742950" indent="-285750" defTabSz="927100">
              <a:defRPr sz="2400">
                <a:solidFill>
                  <a:schemeClr val="tx1"/>
                </a:solidFill>
                <a:latin typeface="Arial" charset="0"/>
                <a:ea typeface="MS PGothic" charset="0"/>
                <a:cs typeface="MS PGothic" charset="0"/>
              </a:defRPr>
            </a:lvl2pPr>
            <a:lvl3pPr marL="1143000" indent="-228600" defTabSz="927100">
              <a:defRPr sz="2400">
                <a:solidFill>
                  <a:schemeClr val="tx1"/>
                </a:solidFill>
                <a:latin typeface="Arial" charset="0"/>
                <a:ea typeface="MS PGothic" charset="0"/>
                <a:cs typeface="MS PGothic" charset="0"/>
              </a:defRPr>
            </a:lvl3pPr>
            <a:lvl4pPr marL="1600200" indent="-228600" defTabSz="927100">
              <a:defRPr sz="2400">
                <a:solidFill>
                  <a:schemeClr val="tx1"/>
                </a:solidFill>
                <a:latin typeface="Arial" charset="0"/>
                <a:ea typeface="MS PGothic" charset="0"/>
                <a:cs typeface="MS PGothic" charset="0"/>
              </a:defRPr>
            </a:lvl4pPr>
            <a:lvl5pPr marL="2057400" indent="-228600" defTabSz="927100">
              <a:defRPr sz="2400">
                <a:solidFill>
                  <a:schemeClr val="tx1"/>
                </a:solidFill>
                <a:latin typeface="Arial" charset="0"/>
                <a:ea typeface="MS PGothic" charset="0"/>
                <a:cs typeface="MS PGothic" charset="0"/>
              </a:defRPr>
            </a:lvl5pPr>
            <a:lvl6pPr marL="25146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defTabSz="9271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gn="r"/>
            <a:fld id="{FDDEF15A-FBFE-1946-B790-5D305A2D842D}" type="slidenum">
              <a:rPr lang="en-US" sz="1300">
                <a:solidFill>
                  <a:prstClr val="black"/>
                </a:solidFill>
                <a:latin typeface="Calibri" charset="0"/>
                <a:ea typeface="ヒラギノ角ゴ Pro W3" charset="0"/>
                <a:cs typeface="ヒラギノ角ゴ Pro W3" charset="0"/>
              </a:rPr>
              <a:pPr algn="r"/>
              <a:t>53</a:t>
            </a:fld>
            <a:endParaRPr lang="en-US" sz="1300" dirty="0">
              <a:solidFill>
                <a:prstClr val="black"/>
              </a:solidFill>
              <a:latin typeface="Calibri" charset="0"/>
              <a:ea typeface="ヒラギノ角ゴ Pro W3" charset="0"/>
              <a:cs typeface="ヒラギノ角ゴ Pro W3" charset="0"/>
            </a:endParaRPr>
          </a:p>
        </p:txBody>
      </p:sp>
    </p:spTree>
    <p:extLst>
      <p:ext uri="{BB962C8B-B14F-4D97-AF65-F5344CB8AC3E}">
        <p14:creationId xmlns:p14="http://schemas.microsoft.com/office/powerpoint/2010/main" val="27126711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89" name="Slide Image Placeholder 1"/>
          <p:cNvSpPr>
            <a:spLocks noGrp="1" noRot="1" noChangeAspect="1" noTextEdit="1"/>
          </p:cNvSpPr>
          <p:nvPr>
            <p:ph type="sldImg"/>
          </p:nvPr>
        </p:nvSpPr>
        <p:spPr>
          <a:xfrm>
            <a:off x="101600" y="742950"/>
            <a:ext cx="6604000" cy="3714750"/>
          </a:xfrm>
          <a:ln/>
        </p:spPr>
      </p:sp>
      <p:sp>
        <p:nvSpPr>
          <p:cNvPr id="114690"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lstStyle/>
          <a:p>
            <a:pPr eaLnBrk="1" hangingPunct="1">
              <a:lnSpc>
                <a:spcPct val="80000"/>
              </a:lnSpc>
              <a:spcBef>
                <a:spcPct val="0"/>
              </a:spcBef>
            </a:pPr>
            <a:r>
              <a:rPr lang="en-US" sz="900">
                <a:ea typeface="ＭＳ Ｐゴシック" charset="0"/>
              </a:rPr>
              <a:t>End to end from platforms for development, horizontals to support BI and Content and full suite of LOB solutions to meet the needs of everyone at your customer…..and there is more coming each month.   </a:t>
            </a:r>
          </a:p>
          <a:p>
            <a:pPr eaLnBrk="1" hangingPunct="1">
              <a:lnSpc>
                <a:spcPct val="80000"/>
              </a:lnSpc>
              <a:spcBef>
                <a:spcPct val="0"/>
              </a:spcBef>
            </a:pPr>
            <a:endParaRPr lang="en-US" sz="900">
              <a:ea typeface="ＭＳ Ｐゴシック" charset="0"/>
            </a:endParaRPr>
          </a:p>
          <a:p>
            <a:pPr eaLnBrk="1" hangingPunct="1">
              <a:lnSpc>
                <a:spcPct val="80000"/>
              </a:lnSpc>
              <a:spcBef>
                <a:spcPct val="0"/>
              </a:spcBef>
            </a:pPr>
            <a:r>
              <a:rPr lang="en-US" sz="900">
                <a:ea typeface="ＭＳ Ｐゴシック" charset="0"/>
              </a:rPr>
              <a:t>So in closing I have one simple call to action – starting today…..every customer meeting you do, whether its for Cloud offerings or selling an appliance or DB2….start that meeting off by asking you customer what they are doing around Cloud, whats their strategy, how do they plan to modernize their architecture…… you will be delighted by their response……and they will need IBMs help.  </a:t>
            </a:r>
          </a:p>
          <a:p>
            <a:pPr eaLnBrk="1" hangingPunct="1">
              <a:lnSpc>
                <a:spcPct val="80000"/>
              </a:lnSpc>
              <a:spcBef>
                <a:spcPct val="0"/>
              </a:spcBef>
            </a:pPr>
            <a:endParaRPr lang="en-US" sz="900">
              <a:ea typeface="ＭＳ Ｐゴシック" charset="0"/>
            </a:endParaRPr>
          </a:p>
          <a:p>
            <a:pPr eaLnBrk="1" hangingPunct="1">
              <a:lnSpc>
                <a:spcPct val="80000"/>
              </a:lnSpc>
              <a:spcBef>
                <a:spcPct val="0"/>
              </a:spcBef>
            </a:pPr>
            <a:endParaRPr lang="en-US">
              <a:ea typeface="ＭＳ Ｐゴシック" charset="0"/>
            </a:endParaRPr>
          </a:p>
          <a:p>
            <a:pPr eaLnBrk="1" hangingPunct="1">
              <a:lnSpc>
                <a:spcPct val="80000"/>
              </a:lnSpc>
              <a:spcBef>
                <a:spcPct val="0"/>
              </a:spcBef>
            </a:pPr>
            <a:endParaRPr lang="en-US">
              <a:ea typeface="ＭＳ Ｐゴシック" charset="0"/>
            </a:endParaRPr>
          </a:p>
        </p:txBody>
      </p:sp>
      <p:sp>
        <p:nvSpPr>
          <p:cNvPr id="114691" name="Slide Number Placeholder 3"/>
          <p:cNvSpPr>
            <a:spLocks noGrp="1"/>
          </p:cNvSpPr>
          <p:nvPr>
            <p:ph type="sldNum" sz="quarter" idx="5"/>
          </p:nvPr>
        </p:nvSpPr>
        <p:spPr>
          <a:xfrm>
            <a:off x="3978493" y="9640901"/>
            <a:ext cx="3045245" cy="5083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8" tIns="45709" rIns="91418" bIns="45709"/>
          <a:lstStyle>
            <a:lvl1pPr defTabSz="422883">
              <a:defRPr sz="2100">
                <a:solidFill>
                  <a:schemeClr val="hlink"/>
                </a:solidFill>
                <a:latin typeface="Arial" charset="0"/>
                <a:ea typeface="ＭＳ Ｐゴシック" charset="0"/>
                <a:cs typeface="ＭＳ Ｐゴシック" charset="0"/>
              </a:defRPr>
            </a:lvl1pPr>
            <a:lvl2pPr marL="722296" indent="-277806" defTabSz="422883">
              <a:defRPr sz="2100">
                <a:solidFill>
                  <a:schemeClr val="hlink"/>
                </a:solidFill>
                <a:latin typeface="Arial" charset="0"/>
                <a:ea typeface="ＭＳ Ｐゴシック" charset="0"/>
              </a:defRPr>
            </a:lvl2pPr>
            <a:lvl3pPr marL="1111225" indent="-222245" defTabSz="422883">
              <a:defRPr sz="2100">
                <a:solidFill>
                  <a:schemeClr val="hlink"/>
                </a:solidFill>
                <a:latin typeface="Arial" charset="0"/>
                <a:ea typeface="ＭＳ Ｐゴシック" charset="0"/>
              </a:defRPr>
            </a:lvl3pPr>
            <a:lvl4pPr marL="1555714" indent="-222245" defTabSz="422883">
              <a:defRPr sz="2100">
                <a:solidFill>
                  <a:schemeClr val="hlink"/>
                </a:solidFill>
                <a:latin typeface="Arial" charset="0"/>
                <a:ea typeface="ＭＳ Ｐゴシック" charset="0"/>
              </a:defRPr>
            </a:lvl4pPr>
            <a:lvl5pPr marL="2000204" indent="-222245" defTabSz="422883">
              <a:defRPr sz="2100">
                <a:solidFill>
                  <a:schemeClr val="hlink"/>
                </a:solidFill>
                <a:latin typeface="Arial" charset="0"/>
                <a:ea typeface="ＭＳ Ｐゴシック" charset="0"/>
              </a:defRPr>
            </a:lvl5pPr>
            <a:lvl6pPr marL="2444694" indent="-222245" defTabSz="422883" eaLnBrk="0" fontAlgn="base" hangingPunct="0">
              <a:spcBef>
                <a:spcPct val="0"/>
              </a:spcBef>
              <a:spcAft>
                <a:spcPct val="0"/>
              </a:spcAft>
              <a:defRPr sz="2100">
                <a:solidFill>
                  <a:schemeClr val="hlink"/>
                </a:solidFill>
                <a:latin typeface="Arial" charset="0"/>
                <a:ea typeface="ＭＳ Ｐゴシック" charset="0"/>
              </a:defRPr>
            </a:lvl6pPr>
            <a:lvl7pPr marL="2889184" indent="-222245" defTabSz="422883" eaLnBrk="0" fontAlgn="base" hangingPunct="0">
              <a:spcBef>
                <a:spcPct val="0"/>
              </a:spcBef>
              <a:spcAft>
                <a:spcPct val="0"/>
              </a:spcAft>
              <a:defRPr sz="2100">
                <a:solidFill>
                  <a:schemeClr val="hlink"/>
                </a:solidFill>
                <a:latin typeface="Arial" charset="0"/>
                <a:ea typeface="ＭＳ Ｐゴシック" charset="0"/>
              </a:defRPr>
            </a:lvl7pPr>
            <a:lvl8pPr marL="3333674" indent="-222245" defTabSz="422883" eaLnBrk="0" fontAlgn="base" hangingPunct="0">
              <a:spcBef>
                <a:spcPct val="0"/>
              </a:spcBef>
              <a:spcAft>
                <a:spcPct val="0"/>
              </a:spcAft>
              <a:defRPr sz="2100">
                <a:solidFill>
                  <a:schemeClr val="hlink"/>
                </a:solidFill>
                <a:latin typeface="Arial" charset="0"/>
                <a:ea typeface="ＭＳ Ｐゴシック" charset="0"/>
              </a:defRPr>
            </a:lvl8pPr>
            <a:lvl9pPr marL="3778164" indent="-222245" defTabSz="422883" eaLnBrk="0" fontAlgn="base" hangingPunct="0">
              <a:spcBef>
                <a:spcPct val="0"/>
              </a:spcBef>
              <a:spcAft>
                <a:spcPct val="0"/>
              </a:spcAft>
              <a:defRPr sz="2100">
                <a:solidFill>
                  <a:schemeClr val="hlink"/>
                </a:solidFill>
                <a:latin typeface="Arial" charset="0"/>
                <a:ea typeface="ＭＳ Ｐゴシック" charset="0"/>
              </a:defRPr>
            </a:lvl9pPr>
          </a:lstStyle>
          <a:p>
            <a:fld id="{1BE54F83-38F1-8C40-A012-B90EAF461D05}" type="slidenum">
              <a:rPr lang="en-US" sz="1800">
                <a:solidFill>
                  <a:srgbClr val="000000"/>
                </a:solidFill>
                <a:cs typeface="Arial" charset="0"/>
                <a:sym typeface="Arial" charset="0"/>
              </a:rPr>
              <a:pPr/>
              <a:t>11</a:t>
            </a:fld>
            <a:endParaRPr lang="en-US" sz="1800">
              <a:solidFill>
                <a:srgbClr val="000000"/>
              </a:solidFill>
              <a:cs typeface="Arial" charset="0"/>
              <a:sym typeface="Arial" charset="0"/>
            </a:endParaRPr>
          </a:p>
        </p:txBody>
      </p:sp>
      <p:sp>
        <p:nvSpPr>
          <p:cNvPr id="49157" name="Footer Placeholder 1"/>
          <p:cNvSpPr>
            <a:spLocks noGrp="1"/>
          </p:cNvSpPr>
          <p:nvPr>
            <p:ph type="ftr" sz="quarter" idx="4"/>
          </p:nvPr>
        </p:nvSpPr>
        <p:spPr>
          <a:xfrm>
            <a:off x="0" y="9640901"/>
            <a:ext cx="3043721" cy="508388"/>
          </a:xfrm>
          <a:prstGeom prst="rect">
            <a:avLst/>
          </a:prstGeom>
          <a:ln>
            <a:miter lim="800000"/>
            <a:headEnd/>
            <a:tailEnd/>
          </a:ln>
        </p:spPr>
        <p:txBody>
          <a:bodyPr lIns="91418" tIns="45709" rIns="91418" bIns="45709"/>
          <a:lstStyle/>
          <a:p>
            <a:pPr defTabSz="424064">
              <a:defRPr/>
            </a:pPr>
            <a:r>
              <a:rPr lang="en-US">
                <a:solidFill>
                  <a:srgbClr val="000000"/>
                </a:solidFill>
                <a:latin typeface="Calibri" pitchFamily="34" charset="0"/>
              </a:rPr>
              <a:t>Big Data &amp; Analytics</a:t>
            </a:r>
          </a:p>
        </p:txBody>
      </p:sp>
      <p:sp>
        <p:nvSpPr>
          <p:cNvPr id="49158" name="Header Placeholder 3"/>
          <p:cNvSpPr>
            <a:spLocks noGrp="1"/>
          </p:cNvSpPr>
          <p:nvPr>
            <p:ph type="hdr" sz="quarter"/>
          </p:nvPr>
        </p:nvSpPr>
        <p:spPr>
          <a:xfrm>
            <a:off x="0" y="0"/>
            <a:ext cx="3043721" cy="506710"/>
          </a:xfrm>
          <a:prstGeom prst="rect">
            <a:avLst/>
          </a:prstGeom>
          <a:ln>
            <a:miter lim="800000"/>
            <a:headEnd/>
            <a:tailEnd/>
          </a:ln>
        </p:spPr>
        <p:txBody>
          <a:bodyPr lIns="91418" tIns="45709" rIns="91418" bIns="45709"/>
          <a:lstStyle/>
          <a:p>
            <a:pPr defTabSz="424064">
              <a:defRPr/>
            </a:pPr>
            <a:r>
              <a:rPr lang="en-US">
                <a:solidFill>
                  <a:srgbClr val="000000"/>
                </a:solidFill>
                <a:latin typeface="Calibri" pitchFamily="34" charset="0"/>
              </a:rPr>
              <a:t>Impact 2014</a:t>
            </a:r>
          </a:p>
        </p:txBody>
      </p:sp>
    </p:spTree>
    <p:extLst>
      <p:ext uri="{BB962C8B-B14F-4D97-AF65-F5344CB8AC3E}">
        <p14:creationId xmlns:p14="http://schemas.microsoft.com/office/powerpoint/2010/main" val="14816462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151" tIns="45075" rIns="90151" bIns="45075"/>
          <a:lstStyle/>
          <a:p>
            <a:pPr eaLnBrk="1" hangingPunct="1"/>
            <a:r>
              <a:rPr lang="en-US" altLang="en-US" dirty="0" smtClean="0"/>
              <a:t>This</a:t>
            </a:r>
            <a:r>
              <a:rPr lang="en-US" altLang="en-US" baseline="0" dirty="0" smtClean="0"/>
              <a:t> brings us to what IBM is doing with Hadoop and Spark.</a:t>
            </a:r>
          </a:p>
          <a:p>
            <a:pPr eaLnBrk="1" hangingPunct="1"/>
            <a:endParaRPr lang="en-US" altLang="en-US" baseline="0" dirty="0" smtClean="0"/>
          </a:p>
          <a:p>
            <a:pPr eaLnBrk="1" hangingPunct="1"/>
            <a:r>
              <a:rPr lang="en-US" altLang="en-US" baseline="0" dirty="0" smtClean="0"/>
              <a:t>In early 2015, IBM radically changed its Hadoop strategy. Customers wanting to use IBM’s Hadoop distribution now have the ability to download what’s called the IBM Open Platform with Apache Hadoop (IOP) and use it for free in production. Everything in this package is 100% open source, including Apache Spark. Before, IBM BigInsights was a complete package, which combined the open source components with IBM’s capabilities, like Big SQL. Also, the Hadoop development team in IBM has adapted different techniques to ensure that the open source components themselves will be updated much more quickly, with a goal of four weeks delta from new project release to being available in IOP.</a:t>
            </a:r>
          </a:p>
          <a:p>
            <a:pPr eaLnBrk="1" hangingPunct="1"/>
            <a:endParaRPr lang="en-US" altLang="en-US" baseline="0" dirty="0" smtClean="0"/>
          </a:p>
          <a:p>
            <a:pPr eaLnBrk="1" hangingPunct="1"/>
            <a:r>
              <a:rPr lang="en-US" altLang="en-US" baseline="0" dirty="0" smtClean="0"/>
              <a:t>One huge change here is that IOP includes Apache Ambari, which is a Hadoop installation and administration toolkit. This replaced the old BigInsights Console. Again, this shows IBM’s buy-in to the open source Hadoop movement, which is to say, that wherever it makes sense, we’ll align ourselves with open source options rather than “only invented by IBM solutions”. Also, Ambari is very well suited to dealing with modular components, which is common in Hadoop deployments.</a:t>
            </a:r>
          </a:p>
          <a:p>
            <a:pPr eaLnBrk="1" hangingPunct="1"/>
            <a:endParaRPr lang="en-US" altLang="en-US" baseline="0" dirty="0" smtClean="0"/>
          </a:p>
          <a:p>
            <a:pPr eaLnBrk="1" hangingPunct="1"/>
            <a:r>
              <a:rPr lang="en-US" altLang="en-US" baseline="0" dirty="0" smtClean="0"/>
              <a:t>IBM also offers a support plan for IOP for those who want it.</a:t>
            </a:r>
          </a:p>
          <a:p>
            <a:pPr eaLnBrk="1" hangingPunct="1"/>
            <a:endParaRPr lang="en-US" altLang="en-US" baseline="0" dirty="0" smtClean="0"/>
          </a:p>
          <a:p>
            <a:pPr eaLnBrk="1" hangingPunct="1"/>
            <a:r>
              <a:rPr lang="en-US" altLang="en-US" baseline="0" smtClean="0"/>
              <a:t>In short, for customers who only want a pure open source Hadoop offering, we can now offer that, with support.</a:t>
            </a:r>
            <a:endParaRPr lang="en-US" altLang="en-US" smtClean="0"/>
          </a:p>
          <a:p>
            <a:endParaRPr lang="en-US"/>
          </a:p>
        </p:txBody>
      </p:sp>
      <p:sp>
        <p:nvSpPr>
          <p:cNvPr id="4" name="Slide Number Placeholder 3"/>
          <p:cNvSpPr>
            <a:spLocks noGrp="1"/>
          </p:cNvSpPr>
          <p:nvPr>
            <p:ph type="sldNum" sz="quarter" idx="10"/>
          </p:nvPr>
        </p:nvSpPr>
        <p:spPr>
          <a:xfrm>
            <a:off x="3856273" y="9409684"/>
            <a:ext cx="2949372" cy="494623"/>
          </a:xfrm>
          <a:prstGeom prst="rect">
            <a:avLst/>
          </a:prstGeom>
        </p:spPr>
        <p:txBody>
          <a:bodyPr lIns="90151" tIns="45075" rIns="90151" bIns="45075"/>
          <a:lstStyle/>
          <a:p>
            <a:fld id="{67149A0B-C2B1-4D49-B0EC-430DCFCE1390}" type="slidenum">
              <a:rPr lang="en-US" smtClean="0">
                <a:latin typeface="Calibri"/>
              </a:rPr>
              <a:pPr/>
              <a:t>55</a:t>
            </a:fld>
            <a:endParaRPr lang="en-US">
              <a:latin typeface="Calibri"/>
            </a:endParaRPr>
          </a:p>
        </p:txBody>
      </p:sp>
    </p:spTree>
    <p:extLst>
      <p:ext uri="{BB962C8B-B14F-4D97-AF65-F5344CB8AC3E}">
        <p14:creationId xmlns:p14="http://schemas.microsoft.com/office/powerpoint/2010/main" val="29901159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151" tIns="45075" rIns="90151" bIns="45075"/>
          <a:lstStyle/>
          <a:p>
            <a:pPr eaLnBrk="1" hangingPunct="1"/>
            <a:r>
              <a:rPr lang="en-US" altLang="en-US" dirty="0" smtClean="0"/>
              <a:t>This</a:t>
            </a:r>
            <a:r>
              <a:rPr lang="en-US" altLang="en-US" baseline="0" dirty="0" smtClean="0"/>
              <a:t> brings us to what IBM is doing with Hadoop and Spark.</a:t>
            </a:r>
          </a:p>
          <a:p>
            <a:pPr eaLnBrk="1" hangingPunct="1"/>
            <a:endParaRPr lang="en-US" altLang="en-US" baseline="0" dirty="0" smtClean="0"/>
          </a:p>
          <a:p>
            <a:pPr eaLnBrk="1" hangingPunct="1"/>
            <a:r>
              <a:rPr lang="en-US" altLang="en-US" baseline="0" dirty="0" smtClean="0"/>
              <a:t>In early 2015, IBM radically changed its Hadoop strategy. Customers wanting to use IBM’s Hadoop distribution now have the ability to download what’s called the IBM Open Platform with Apache Hadoop (IOP) and use it for free in production. Everything in this package is 100% open source, including Apache Spark. Before, IBM BigInsights was a complete package, which combined the open source components with IBM’s capabilities, like Big SQL. Also, the Hadoop development team in IBM has adapted different techniques to ensure that the open source components themselves will be updated much more quickly, with a goal of four weeks delta from new project release to being available in IOP.</a:t>
            </a:r>
          </a:p>
          <a:p>
            <a:pPr eaLnBrk="1" hangingPunct="1"/>
            <a:endParaRPr lang="en-US" altLang="en-US" baseline="0" dirty="0" smtClean="0"/>
          </a:p>
          <a:p>
            <a:pPr eaLnBrk="1" hangingPunct="1"/>
            <a:r>
              <a:rPr lang="en-US" altLang="en-US" baseline="0" dirty="0" smtClean="0"/>
              <a:t>One huge change here is that IOP includes Apache Ambari, which is a Hadoop installation and administration toolkit. This replaced the old BigInsights Console. Again, this shows IBM’s buy-in to the open source Hadoop movement, which is to say, that wherever it makes sense, we’ll align ourselves with open source options rather than “only invented by IBM solutions”. Also, Ambari is very well suited to dealing with modular components, which is common in Hadoop deployments.</a:t>
            </a:r>
          </a:p>
          <a:p>
            <a:pPr eaLnBrk="1" hangingPunct="1"/>
            <a:endParaRPr lang="en-US" altLang="en-US" baseline="0" dirty="0" smtClean="0"/>
          </a:p>
          <a:p>
            <a:pPr eaLnBrk="1" hangingPunct="1"/>
            <a:r>
              <a:rPr lang="en-US" altLang="en-US" baseline="0" dirty="0" smtClean="0"/>
              <a:t>IBM also offers a support plan for IOP for those who want it.</a:t>
            </a:r>
          </a:p>
          <a:p>
            <a:pPr eaLnBrk="1" hangingPunct="1"/>
            <a:endParaRPr lang="en-US" altLang="en-US" baseline="0" dirty="0" smtClean="0"/>
          </a:p>
          <a:p>
            <a:pPr eaLnBrk="1" hangingPunct="1"/>
            <a:r>
              <a:rPr lang="en-US" altLang="en-US" baseline="0" smtClean="0"/>
              <a:t>In short, for customers who only want a pure open source Hadoop offering, we can now offer that, with support.</a:t>
            </a:r>
            <a:endParaRPr lang="en-US" altLang="en-US" smtClean="0"/>
          </a:p>
          <a:p>
            <a:endParaRPr lang="en-US"/>
          </a:p>
        </p:txBody>
      </p:sp>
      <p:sp>
        <p:nvSpPr>
          <p:cNvPr id="4" name="Slide Number Placeholder 3"/>
          <p:cNvSpPr>
            <a:spLocks noGrp="1"/>
          </p:cNvSpPr>
          <p:nvPr>
            <p:ph type="sldNum" sz="quarter" idx="10"/>
          </p:nvPr>
        </p:nvSpPr>
        <p:spPr>
          <a:xfrm>
            <a:off x="3856273" y="9409684"/>
            <a:ext cx="2949372" cy="494623"/>
          </a:xfrm>
          <a:prstGeom prst="rect">
            <a:avLst/>
          </a:prstGeom>
        </p:spPr>
        <p:txBody>
          <a:bodyPr lIns="90151" tIns="45075" rIns="90151" bIns="45075"/>
          <a:lstStyle/>
          <a:p>
            <a:fld id="{67149A0B-C2B1-4D49-B0EC-430DCFCE1390}" type="slidenum">
              <a:rPr lang="en-US" smtClean="0">
                <a:latin typeface="Calibri"/>
              </a:rPr>
              <a:pPr/>
              <a:t>56</a:t>
            </a:fld>
            <a:endParaRPr lang="en-US">
              <a:latin typeface="Calibri"/>
            </a:endParaRPr>
          </a:p>
        </p:txBody>
      </p:sp>
    </p:spTree>
    <p:extLst>
      <p:ext uri="{BB962C8B-B14F-4D97-AF65-F5344CB8AC3E}">
        <p14:creationId xmlns:p14="http://schemas.microsoft.com/office/powerpoint/2010/main" val="26367152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90151" tIns="45075" rIns="90151" bIns="45075"/>
          <a:lstStyle/>
          <a:p>
            <a:pPr eaLnBrk="1" hangingPunct="1"/>
            <a:r>
              <a:rPr lang="en-US" altLang="en-US" dirty="0" smtClean="0"/>
              <a:t>Month to Month subscription of the IBM Open Platform Hadoop distribution</a:t>
            </a:r>
            <a:r>
              <a:rPr lang="en-US" altLang="en-US" baseline="0" dirty="0" smtClean="0"/>
              <a:t> </a:t>
            </a:r>
            <a:r>
              <a:rPr lang="en-US" altLang="en-US" dirty="0" smtClean="0"/>
              <a:t>include optional add-ons for advanced text analytics, System Machine Learning which improves developer productivity, Big SQL which supports ANSI SQL workloads against Hadoop, and Big Sheets which supports data discovery &amp; exploration of</a:t>
            </a:r>
            <a:r>
              <a:rPr lang="en-US" altLang="en-US" baseline="0" dirty="0" smtClean="0"/>
              <a:t> Hadoop </a:t>
            </a:r>
            <a:r>
              <a:rPr lang="en-US" altLang="en-US" dirty="0" smtClean="0"/>
              <a:t>data.</a:t>
            </a:r>
          </a:p>
          <a:p>
            <a:pPr marL="169033" indent="-169033">
              <a:buFont typeface="Arial" charset="0"/>
              <a:buChar char="•"/>
            </a:pPr>
            <a:r>
              <a:rPr lang="en-US" altLang="en-US" dirty="0" smtClean="0"/>
              <a:t>Managed by IBM so secure and up to date.</a:t>
            </a:r>
          </a:p>
          <a:p>
            <a:pPr marL="169033" indent="-169033">
              <a:buFont typeface="Arial" charset="0"/>
              <a:buChar char="•"/>
            </a:pPr>
            <a:r>
              <a:rPr lang="en-US" altLang="en-US" dirty="0" smtClean="0"/>
              <a:t>Reserved Instances (dedicated) deliver billing predictability, performance consistency, and security isolation.</a:t>
            </a:r>
          </a:p>
          <a:p>
            <a:pPr marL="169033" indent="-169033">
              <a:buFont typeface="Arial" charset="0"/>
              <a:buChar char="•"/>
            </a:pPr>
            <a:r>
              <a:rPr lang="en-US" altLang="en-US" dirty="0" smtClean="0"/>
              <a:t>Truly elastic clusters coming in</a:t>
            </a:r>
            <a:r>
              <a:rPr lang="en-US" altLang="en-US" baseline="0" dirty="0" smtClean="0"/>
              <a:t> 2H15.</a:t>
            </a:r>
          </a:p>
          <a:p>
            <a:endParaRPr lang="en-US" altLang="en-US" dirty="0" smtClean="0"/>
          </a:p>
          <a:p>
            <a:pPr eaLnBrk="1" hangingPunct="1"/>
            <a:r>
              <a:rPr lang="en-US" altLang="en-US" dirty="0" smtClean="0"/>
              <a:t>This</a:t>
            </a:r>
            <a:r>
              <a:rPr lang="en-US" altLang="en-US" baseline="0" dirty="0" smtClean="0"/>
              <a:t> brings us to what IBM is doing with Hadoop and Spark.</a:t>
            </a:r>
          </a:p>
          <a:p>
            <a:pPr eaLnBrk="1" hangingPunct="1"/>
            <a:endParaRPr lang="en-US" altLang="en-US" baseline="0" dirty="0" smtClean="0"/>
          </a:p>
          <a:p>
            <a:pPr eaLnBrk="1" hangingPunct="1"/>
            <a:r>
              <a:rPr lang="en-US" altLang="en-US" baseline="0" dirty="0" smtClean="0"/>
              <a:t>In early 2015, IBM radically changed its Hadoop strategy. Customers wanting to use IBM’s Hadoop distribution now have the ability to download what’s called the IBM Open Platform with Apache Hadoop (IOP) and use it for free in production. Everything in this package is 100% open source, including Apache Spark. Before, IBM BigInsights was a complete package, which combined the open source components with IBM’s capabilities, like Big SQL. Also, the Hadoop development team in IBM has adapted different techniques to ensure that the open source components themselves will be updated much more quickly, with a goal of four weeks delta from new project release to being available in IOP.</a:t>
            </a:r>
          </a:p>
          <a:p>
            <a:pPr eaLnBrk="1" hangingPunct="1"/>
            <a:endParaRPr lang="en-US" altLang="en-US" baseline="0" dirty="0" smtClean="0"/>
          </a:p>
          <a:p>
            <a:pPr eaLnBrk="1" hangingPunct="1"/>
            <a:r>
              <a:rPr lang="en-US" altLang="en-US" baseline="0" dirty="0" smtClean="0"/>
              <a:t>One huge change here is that IOP includes Apache Ambari, which is a Hadoop installation and administration toolkit. This replaced the old BigInsights Console. Again, this shows IBM’s buy-in to the open source Hadoop movement, which is to say, that wherever it makes sense, we’ll align ourselves with open source options rather than “only invented by IBM solutions”. Also, Ambari is very well suited to dealing with modular components, which is common in Hadoop deployments.</a:t>
            </a:r>
          </a:p>
          <a:p>
            <a:pPr eaLnBrk="1" hangingPunct="1"/>
            <a:endParaRPr lang="en-US" altLang="en-US" baseline="0" dirty="0" smtClean="0"/>
          </a:p>
          <a:p>
            <a:pPr eaLnBrk="1" hangingPunct="1"/>
            <a:r>
              <a:rPr lang="en-US" altLang="en-US" baseline="0" dirty="0" smtClean="0"/>
              <a:t>IBM also offers a support plan for IOP for those who want it.</a:t>
            </a:r>
          </a:p>
          <a:p>
            <a:pPr eaLnBrk="1" hangingPunct="1"/>
            <a:endParaRPr lang="en-US" altLang="en-US" baseline="0" dirty="0" smtClean="0"/>
          </a:p>
          <a:p>
            <a:pPr eaLnBrk="1" hangingPunct="1"/>
            <a:r>
              <a:rPr lang="en-US" altLang="en-US" baseline="0" dirty="0" smtClean="0"/>
              <a:t>In short, for customers who only want a pure open source Hadoop offering, we can now offer that, with support.</a:t>
            </a:r>
            <a:endParaRPr lang="en-US" altLang="en-US" dirty="0" smtClean="0"/>
          </a:p>
          <a:p>
            <a:endParaRPr lang="en-US" dirty="0"/>
          </a:p>
        </p:txBody>
      </p:sp>
      <p:sp>
        <p:nvSpPr>
          <p:cNvPr id="4" name="Slide Number Placeholder 3"/>
          <p:cNvSpPr>
            <a:spLocks noGrp="1"/>
          </p:cNvSpPr>
          <p:nvPr>
            <p:ph type="sldNum" sz="quarter" idx="10"/>
          </p:nvPr>
        </p:nvSpPr>
        <p:spPr>
          <a:xfrm>
            <a:off x="3856273" y="9409684"/>
            <a:ext cx="2949372" cy="494623"/>
          </a:xfrm>
          <a:prstGeom prst="rect">
            <a:avLst/>
          </a:prstGeom>
        </p:spPr>
        <p:txBody>
          <a:bodyPr lIns="90151" tIns="45075" rIns="90151" bIns="45075"/>
          <a:lstStyle/>
          <a:p>
            <a:fld id="{67149A0B-C2B1-4D49-B0EC-430DCFCE1390}" type="slidenum">
              <a:rPr lang="en-US" smtClean="0">
                <a:latin typeface="Calibri"/>
              </a:rPr>
              <a:pPr/>
              <a:t>57</a:t>
            </a:fld>
            <a:endParaRPr lang="en-US">
              <a:latin typeface="Calibri"/>
            </a:endParaRPr>
          </a:p>
        </p:txBody>
      </p:sp>
    </p:spTree>
    <p:extLst>
      <p:ext uri="{BB962C8B-B14F-4D97-AF65-F5344CB8AC3E}">
        <p14:creationId xmlns:p14="http://schemas.microsoft.com/office/powerpoint/2010/main" val="56321883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6493" tIns="43247" rIns="86493" bIns="43247"/>
          <a:lstStyle/>
          <a:p>
            <a:endParaRPr lang="en-US">
              <a:latin typeface="Helvetica"/>
            </a:endParaRPr>
          </a:p>
        </p:txBody>
      </p:sp>
      <p:sp>
        <p:nvSpPr>
          <p:cNvPr id="4" name="Footer Placeholder 3"/>
          <p:cNvSpPr>
            <a:spLocks noGrp="1"/>
          </p:cNvSpPr>
          <p:nvPr>
            <p:ph type="ftr" sz="quarter" idx="10"/>
          </p:nvPr>
        </p:nvSpPr>
        <p:spPr>
          <a:xfrm>
            <a:off x="0" y="9409719"/>
            <a:ext cx="2950082" cy="494645"/>
          </a:xfrm>
          <a:prstGeom prst="rect">
            <a:avLst/>
          </a:prstGeom>
        </p:spPr>
        <p:txBody>
          <a:bodyPr lIns="86493" tIns="43247" rIns="86493" bIns="43247"/>
          <a:lstStyle/>
          <a:p>
            <a:pPr>
              <a:defRPr/>
            </a:pPr>
            <a:r>
              <a:rPr lang="en-US" dirty="0" smtClean="0">
                <a:latin typeface="Helvetica"/>
              </a:rPr>
              <a:t>IBM Big Data &amp; Analytics</a:t>
            </a:r>
            <a:br>
              <a:rPr lang="en-US" dirty="0" smtClean="0">
                <a:latin typeface="Helvetica"/>
              </a:rPr>
            </a:br>
            <a:r>
              <a:rPr lang="en-US" dirty="0"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a:xfrm>
            <a:off x="3855641" y="9409719"/>
            <a:ext cx="2950082" cy="494645"/>
          </a:xfrm>
          <a:prstGeom prst="rect">
            <a:avLst/>
          </a:prstGeom>
        </p:spPr>
        <p:txBody>
          <a:bodyPr lIns="86493" tIns="43247" rIns="86493" bIns="43247"/>
          <a:lstStyle/>
          <a:p>
            <a:pPr>
              <a:defRPr/>
            </a:pPr>
            <a:fld id="{D64403C9-BAE7-45D8-9EE5-C7B7AAC9717F}" type="slidenum">
              <a:rPr lang="en-US" smtClean="0">
                <a:latin typeface="Helvetica"/>
              </a:rPr>
              <a:pPr>
                <a:defRPr/>
              </a:pPr>
              <a:t>63</a:t>
            </a:fld>
            <a:endParaRPr lang="en-US">
              <a:latin typeface="Helvetica"/>
            </a:endParaRPr>
          </a:p>
        </p:txBody>
      </p:sp>
    </p:spTree>
    <p:extLst>
      <p:ext uri="{BB962C8B-B14F-4D97-AF65-F5344CB8AC3E}">
        <p14:creationId xmlns:p14="http://schemas.microsoft.com/office/powerpoint/2010/main" val="99361087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6493" tIns="43247" rIns="86493" bIns="43247"/>
          <a:lstStyle/>
          <a:p>
            <a:r>
              <a:rPr lang="en-US" dirty="0" smtClean="0">
                <a:latin typeface="Helvetica"/>
              </a:rPr>
              <a:t>One thing to note</a:t>
            </a:r>
            <a:r>
              <a:rPr lang="en-US" baseline="0" dirty="0" smtClean="0">
                <a:latin typeface="Helvetica"/>
              </a:rPr>
              <a:t> here is how recent all of this attention is – keep in mind that Spark was only founded in 2009 and open-sourced in 2010</a:t>
            </a:r>
            <a:endParaRPr lang="en-US" dirty="0">
              <a:latin typeface="Helvetica"/>
            </a:endParaRPr>
          </a:p>
        </p:txBody>
      </p:sp>
      <p:sp>
        <p:nvSpPr>
          <p:cNvPr id="4" name="Footer Placeholder 3"/>
          <p:cNvSpPr>
            <a:spLocks noGrp="1"/>
          </p:cNvSpPr>
          <p:nvPr>
            <p:ph type="ftr" sz="quarter" idx="10"/>
          </p:nvPr>
        </p:nvSpPr>
        <p:spPr>
          <a:xfrm>
            <a:off x="0" y="9409719"/>
            <a:ext cx="2950082" cy="494645"/>
          </a:xfrm>
          <a:prstGeom prst="rect">
            <a:avLst/>
          </a:prstGeom>
        </p:spPr>
        <p:txBody>
          <a:bodyPr lIns="86493" tIns="43247" rIns="86493" bIns="43247"/>
          <a:lstStyle/>
          <a:p>
            <a:pPr>
              <a:defRPr/>
            </a:pPr>
            <a:r>
              <a:rPr lang="en-US" dirty="0" smtClean="0">
                <a:latin typeface="Helvetica"/>
              </a:rPr>
              <a:t>IBM Big Data &amp; Analytics</a:t>
            </a:r>
            <a:br>
              <a:rPr lang="en-US" dirty="0" smtClean="0">
                <a:latin typeface="Helvetica"/>
              </a:rPr>
            </a:br>
            <a:r>
              <a:rPr lang="en-US" dirty="0"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a:xfrm>
            <a:off x="3855641" y="9409719"/>
            <a:ext cx="2950082" cy="494645"/>
          </a:xfrm>
          <a:prstGeom prst="rect">
            <a:avLst/>
          </a:prstGeom>
        </p:spPr>
        <p:txBody>
          <a:bodyPr lIns="86493" tIns="43247" rIns="86493" bIns="43247"/>
          <a:lstStyle/>
          <a:p>
            <a:pPr>
              <a:defRPr/>
            </a:pPr>
            <a:fld id="{D64403C9-BAE7-45D8-9EE5-C7B7AAC9717F}" type="slidenum">
              <a:rPr lang="en-US" smtClean="0">
                <a:latin typeface="Helvetica"/>
              </a:rPr>
              <a:pPr>
                <a:defRPr/>
              </a:pPr>
              <a:t>64</a:t>
            </a:fld>
            <a:endParaRPr lang="en-US">
              <a:latin typeface="Helvetica"/>
            </a:endParaRPr>
          </a:p>
        </p:txBody>
      </p:sp>
    </p:spTree>
    <p:extLst>
      <p:ext uri="{BB962C8B-B14F-4D97-AF65-F5344CB8AC3E}">
        <p14:creationId xmlns:p14="http://schemas.microsoft.com/office/powerpoint/2010/main" val="64107533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6493" tIns="43247" rIns="86493" bIns="43247"/>
          <a:lstStyle/>
          <a:p>
            <a:endParaRPr lang="en-US">
              <a:latin typeface="Helvetica"/>
            </a:endParaRPr>
          </a:p>
        </p:txBody>
      </p:sp>
      <p:sp>
        <p:nvSpPr>
          <p:cNvPr id="4" name="Footer Placeholder 3"/>
          <p:cNvSpPr>
            <a:spLocks noGrp="1"/>
          </p:cNvSpPr>
          <p:nvPr>
            <p:ph type="ftr" sz="quarter" idx="10"/>
          </p:nvPr>
        </p:nvSpPr>
        <p:spPr>
          <a:xfrm>
            <a:off x="0" y="9409719"/>
            <a:ext cx="2950082" cy="494645"/>
          </a:xfrm>
          <a:prstGeom prst="rect">
            <a:avLst/>
          </a:prstGeom>
        </p:spPr>
        <p:txBody>
          <a:bodyPr lIns="86493" tIns="43247" rIns="86493" bIns="43247"/>
          <a:lstStyle/>
          <a:p>
            <a:pPr>
              <a:defRPr/>
            </a:pPr>
            <a:r>
              <a:rPr lang="en-US" dirty="0" smtClean="0">
                <a:latin typeface="Helvetica"/>
              </a:rPr>
              <a:t>IBM Big Data &amp; Analytics</a:t>
            </a:r>
            <a:br>
              <a:rPr lang="en-US" dirty="0" smtClean="0">
                <a:latin typeface="Helvetica"/>
              </a:rPr>
            </a:br>
            <a:r>
              <a:rPr lang="en-US" dirty="0"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a:xfrm>
            <a:off x="3855641" y="9409719"/>
            <a:ext cx="2950082" cy="494645"/>
          </a:xfrm>
          <a:prstGeom prst="rect">
            <a:avLst/>
          </a:prstGeom>
        </p:spPr>
        <p:txBody>
          <a:bodyPr lIns="86493" tIns="43247" rIns="86493" bIns="43247"/>
          <a:lstStyle/>
          <a:p>
            <a:pPr>
              <a:defRPr/>
            </a:pPr>
            <a:fld id="{D64403C9-BAE7-45D8-9EE5-C7B7AAC9717F}" type="slidenum">
              <a:rPr lang="en-US" smtClean="0">
                <a:latin typeface="Helvetica"/>
              </a:rPr>
              <a:pPr>
                <a:defRPr/>
              </a:pPr>
              <a:t>65</a:t>
            </a:fld>
            <a:endParaRPr lang="en-US">
              <a:latin typeface="Helvetica"/>
            </a:endParaRPr>
          </a:p>
        </p:txBody>
      </p:sp>
    </p:spTree>
    <p:extLst>
      <p:ext uri="{BB962C8B-B14F-4D97-AF65-F5344CB8AC3E}">
        <p14:creationId xmlns:p14="http://schemas.microsoft.com/office/powerpoint/2010/main" val="176146263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lIns="86493" tIns="43247" rIns="86493" bIns="43247"/>
          <a:lstStyle/>
          <a:p>
            <a:endParaRPr lang="en-US">
              <a:latin typeface="Helvetica"/>
            </a:endParaRPr>
          </a:p>
        </p:txBody>
      </p:sp>
      <p:sp>
        <p:nvSpPr>
          <p:cNvPr id="4" name="Footer Placeholder 3"/>
          <p:cNvSpPr>
            <a:spLocks noGrp="1"/>
          </p:cNvSpPr>
          <p:nvPr>
            <p:ph type="ftr" sz="quarter" idx="10"/>
          </p:nvPr>
        </p:nvSpPr>
        <p:spPr>
          <a:xfrm>
            <a:off x="0" y="9409719"/>
            <a:ext cx="2950082" cy="494645"/>
          </a:xfrm>
          <a:prstGeom prst="rect">
            <a:avLst/>
          </a:prstGeom>
        </p:spPr>
        <p:txBody>
          <a:bodyPr lIns="86493" tIns="43247" rIns="86493" bIns="43247"/>
          <a:lstStyle/>
          <a:p>
            <a:pPr>
              <a:defRPr/>
            </a:pPr>
            <a:r>
              <a:rPr lang="en-US" dirty="0" smtClean="0">
                <a:latin typeface="Helvetica"/>
              </a:rPr>
              <a:t>IBM Big Data &amp; Analytics</a:t>
            </a:r>
            <a:br>
              <a:rPr lang="en-US" dirty="0" smtClean="0">
                <a:latin typeface="Helvetica"/>
              </a:rPr>
            </a:br>
            <a:r>
              <a:rPr lang="en-US" dirty="0" smtClean="0">
                <a:latin typeface="Helvetica"/>
              </a:rPr>
              <a:t>© 2013 IBM Corporation</a:t>
            </a:r>
            <a:endParaRPr lang="en-US" dirty="0">
              <a:latin typeface="Helvetica"/>
            </a:endParaRPr>
          </a:p>
        </p:txBody>
      </p:sp>
      <p:sp>
        <p:nvSpPr>
          <p:cNvPr id="5" name="Slide Number Placeholder 4"/>
          <p:cNvSpPr>
            <a:spLocks noGrp="1"/>
          </p:cNvSpPr>
          <p:nvPr>
            <p:ph type="sldNum" sz="quarter" idx="11"/>
          </p:nvPr>
        </p:nvSpPr>
        <p:spPr>
          <a:xfrm>
            <a:off x="3855641" y="9409719"/>
            <a:ext cx="2950082" cy="494645"/>
          </a:xfrm>
          <a:prstGeom prst="rect">
            <a:avLst/>
          </a:prstGeom>
        </p:spPr>
        <p:txBody>
          <a:bodyPr lIns="86493" tIns="43247" rIns="86493" bIns="43247"/>
          <a:lstStyle/>
          <a:p>
            <a:pPr>
              <a:defRPr/>
            </a:pPr>
            <a:fld id="{D64403C9-BAE7-45D8-9EE5-C7B7AAC9717F}" type="slidenum">
              <a:rPr lang="en-US" smtClean="0">
                <a:latin typeface="Helvetica"/>
              </a:rPr>
              <a:pPr>
                <a:defRPr/>
              </a:pPr>
              <a:t>67</a:t>
            </a:fld>
            <a:endParaRPr lang="en-US">
              <a:latin typeface="Helvetica"/>
            </a:endParaRPr>
          </a:p>
        </p:txBody>
      </p:sp>
    </p:spTree>
    <p:extLst>
      <p:ext uri="{BB962C8B-B14F-4D97-AF65-F5344CB8AC3E}">
        <p14:creationId xmlns:p14="http://schemas.microsoft.com/office/powerpoint/2010/main" val="68035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3211158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97168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537469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30316613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10473601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1600" y="742950"/>
            <a:ext cx="6604000" cy="3714750"/>
          </a:xfrm>
        </p:spPr>
      </p:sp>
      <p:sp>
        <p:nvSpPr>
          <p:cNvPr id="3" name="Notes Placeholder 2"/>
          <p:cNvSpPr>
            <a:spLocks noGrp="1"/>
          </p:cNvSpPr>
          <p:nvPr>
            <p:ph type="body" idx="1"/>
          </p:nvPr>
        </p:nvSpPr>
        <p:spPr/>
        <p:txBody>
          <a:bodyPr/>
          <a:lstStyle/>
          <a:p>
            <a:pPr defTabSz="450753" eaLnBrk="1" fontAlgn="auto" hangingPunct="1">
              <a:spcBef>
                <a:spcPts val="0"/>
              </a:spcBef>
              <a:spcAft>
                <a:spcPts val="0"/>
              </a:spcAft>
              <a:defRPr/>
            </a:pPr>
            <a:r>
              <a:rPr lang="en-US" baseline="0" dirty="0" smtClean="0"/>
              <a:t>In a 2013 report, 451 Research predicted that by 2016, two thirds of enterprises would be using database as a service in some form.</a:t>
            </a:r>
          </a:p>
          <a:p>
            <a:endParaRPr lang="en-US" dirty="0" smtClean="0"/>
          </a:p>
          <a:p>
            <a:r>
              <a:rPr lang="en-US" dirty="0" smtClean="0"/>
              <a:t>The reason IBM is</a:t>
            </a:r>
            <a:r>
              <a:rPr lang="en-US" baseline="0" dirty="0" smtClean="0"/>
              <a:t> focused on creating an amazing cloud data services experience, is to meet that demand and enable the benefits it generates for customers:</a:t>
            </a:r>
          </a:p>
          <a:p>
            <a:endParaRPr lang="en-US" baseline="0" dirty="0" smtClean="0"/>
          </a:p>
          <a:p>
            <a:r>
              <a:rPr lang="en-US" baseline="0" dirty="0" smtClean="0"/>
              <a:t>#1 – Faster Innovation – customers can be focused on creating new apps, features, and insight…putting the data to work, instead of administering databases</a:t>
            </a:r>
          </a:p>
          <a:p>
            <a:r>
              <a:rPr lang="en-US" baseline="0" dirty="0" smtClean="0"/>
              <a:t>#2 – Better IT Economics – use cloud data services on a pay-as-you-grow basis, and avoid the usual, big up-front capital costs for database software, hardware. Plus you’re up and running instantly, without the usual wait for procurement, installation, and configuration.</a:t>
            </a:r>
          </a:p>
          <a:p>
            <a:r>
              <a:rPr lang="en-US" baseline="0" dirty="0" smtClean="0"/>
              <a:t>#3 – And lastly, fully managed cloud data services help lower your risk of failure…the services are operated by the developers of the technology you’re using; experts who can keep your data layer growing smoothly, secure, and always on, </a:t>
            </a:r>
          </a:p>
          <a:p>
            <a:endParaRPr lang="en-US" dirty="0"/>
          </a:p>
        </p:txBody>
      </p:sp>
    </p:spTree>
    <p:extLst>
      <p:ext uri="{BB962C8B-B14F-4D97-AF65-F5344CB8AC3E}">
        <p14:creationId xmlns:p14="http://schemas.microsoft.com/office/powerpoint/2010/main" val="39137545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Title and Content copy 6">
    <p:spTree>
      <p:nvGrpSpPr>
        <p:cNvPr id="1" name=""/>
        <p:cNvGrpSpPr/>
        <p:nvPr/>
      </p:nvGrpSpPr>
      <p:grpSpPr>
        <a:xfrm>
          <a:off x="0" y="0"/>
          <a:ext cx="0" cy="0"/>
          <a:chOff x="0" y="0"/>
          <a:chExt cx="0" cy="0"/>
        </a:xfrm>
      </p:grpSpPr>
    </p:spTree>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Title and Content copy 1">
    <p:spTree>
      <p:nvGrpSpPr>
        <p:cNvPr id="1" name=""/>
        <p:cNvGrpSpPr/>
        <p:nvPr/>
      </p:nvGrpSpPr>
      <p:grpSpPr>
        <a:xfrm>
          <a:off x="0" y="0"/>
          <a:ext cx="0" cy="0"/>
          <a:chOff x="0" y="0"/>
          <a:chExt cx="0" cy="0"/>
        </a:xfrm>
      </p:grpSpPr>
      <p:pic>
        <p:nvPicPr>
          <p:cNvPr id="7" name="image3.jpeg"/>
          <p:cNvPicPr/>
          <p:nvPr/>
        </p:nvPicPr>
        <p:blipFill>
          <a:blip r:embed="rId2">
            <a:extLst/>
          </a:blip>
          <a:stretch>
            <a:fillRect/>
          </a:stretch>
        </p:blipFill>
        <p:spPr>
          <a:xfrm>
            <a:off x="0" y="0"/>
            <a:ext cx="9144000" cy="5143500"/>
          </a:xfrm>
          <a:prstGeom prst="rect">
            <a:avLst/>
          </a:prstGeom>
          <a:ln w="12700">
            <a:miter lim="400000"/>
          </a:ln>
        </p:spPr>
      </p:pic>
      <p:sp>
        <p:nvSpPr>
          <p:cNvPr id="8" name="Shape 8"/>
          <p:cNvSpPr/>
          <p:nvPr/>
        </p:nvSpPr>
        <p:spPr>
          <a:xfrm>
            <a:off x="7824585" y="4944652"/>
            <a:ext cx="2690658" cy="10772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R="57150" indent="57150" defTabSz="1282700">
              <a:defRPr sz="700" spc="-14">
                <a:solidFill>
                  <a:srgbClr val="959595"/>
                </a:solidFill>
                <a:uFill>
                  <a:solidFill>
                    <a:srgbClr val="7A7A7A"/>
                  </a:solidFill>
                </a:uFill>
                <a:latin typeface="Arial"/>
                <a:ea typeface="Arial"/>
                <a:cs typeface="Arial"/>
                <a:sym typeface="Arial"/>
              </a:defRPr>
            </a:lvl1pPr>
          </a:lstStyle>
          <a:p>
            <a:pPr lvl="0">
              <a:defRPr sz="1800" spc="0">
                <a:solidFill>
                  <a:srgbClr val="000000"/>
                </a:solidFill>
                <a:uFillTx/>
              </a:defRPr>
            </a:pPr>
            <a:r>
              <a:rPr sz="700" spc="-14">
                <a:solidFill>
                  <a:srgbClr val="959595"/>
                </a:solidFill>
                <a:uFill>
                  <a:solidFill>
                    <a:srgbClr val="7A7A7A"/>
                  </a:solidFill>
                </a:uFill>
              </a:rPr>
              <a:t>  ©2015 IBM Corporation </a:t>
            </a:r>
          </a:p>
        </p:txBody>
      </p:sp>
      <p:sp>
        <p:nvSpPr>
          <p:cNvPr id="9" name="Shape 9"/>
          <p:cNvSpPr/>
          <p:nvPr/>
        </p:nvSpPr>
        <p:spPr>
          <a:xfrm>
            <a:off x="7781380" y="4944652"/>
            <a:ext cx="269864" cy="952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fontScale="92500"/>
          </a:bodyPr>
          <a:lstStyle>
            <a:lvl1pPr>
              <a:defRPr sz="700">
                <a:solidFill>
                  <a:srgbClr val="959595"/>
                </a:solidFill>
                <a:latin typeface="Arial"/>
                <a:ea typeface="Arial"/>
                <a:cs typeface="Arial"/>
                <a:sym typeface="Arial"/>
              </a:defRPr>
            </a:lvl1pPr>
          </a:lstStyle>
          <a:p>
            <a:pPr lvl="0">
              <a:defRPr sz="1800">
                <a:solidFill>
                  <a:srgbClr val="000000"/>
                </a:solidFill>
              </a:defRPr>
            </a:pPr>
            <a:r>
              <a:rPr sz="700">
                <a:solidFill>
                  <a:srgbClr val="959595"/>
                </a:solidFill>
              </a:rPr>
              <a:t>￼</a:t>
            </a:r>
          </a:p>
        </p:txBody>
      </p:sp>
      <p:pic>
        <p:nvPicPr>
          <p:cNvPr id="10" name="image4.png"/>
          <p:cNvPicPr/>
          <p:nvPr/>
        </p:nvPicPr>
        <p:blipFill>
          <a:blip r:embed="rId3">
            <a:alphaModFix amt="80000"/>
            <a:extLst/>
          </a:blip>
          <a:stretch>
            <a:fillRect/>
          </a:stretch>
        </p:blipFill>
        <p:spPr>
          <a:xfrm>
            <a:off x="197985" y="4800264"/>
            <a:ext cx="765283" cy="203464"/>
          </a:xfrm>
          <a:prstGeom prst="rect">
            <a:avLst/>
          </a:prstGeom>
          <a:ln w="12700">
            <a:miter lim="400000"/>
          </a:ln>
        </p:spPr>
      </p:pic>
      <p:sp>
        <p:nvSpPr>
          <p:cNvPr id="6" name="Title 1"/>
          <p:cNvSpPr>
            <a:spLocks noGrp="1"/>
          </p:cNvSpPr>
          <p:nvPr>
            <p:ph type="title"/>
          </p:nvPr>
        </p:nvSpPr>
        <p:spPr>
          <a:xfrm>
            <a:off x="1060570" y="366543"/>
            <a:ext cx="7748468" cy="415529"/>
          </a:xfrm>
          <a:prstGeom prst="rect">
            <a:avLst/>
          </a:prstGeom>
        </p:spPr>
        <p:txBody>
          <a:bodyPr anchor="ctr"/>
          <a:lstStyle>
            <a:lvl1pPr>
              <a:defRPr sz="2400" b="1"/>
            </a:lvl1pPr>
          </a:lstStyle>
          <a:p>
            <a:pPr eaLnBrk="1" hangingPunct="1">
              <a:defRPr/>
            </a:pPr>
            <a:endParaRPr lang="en-US" dirty="0" smtClean="0">
              <a:cs typeface="+mj-cs"/>
            </a:endParaRPr>
          </a:p>
        </p:txBody>
      </p:sp>
      <p:sp>
        <p:nvSpPr>
          <p:cNvPr id="11" name="Content Placeholder 2"/>
          <p:cNvSpPr>
            <a:spLocks noGrp="1"/>
          </p:cNvSpPr>
          <p:nvPr>
            <p:ph idx="1"/>
          </p:nvPr>
        </p:nvSpPr>
        <p:spPr>
          <a:xfrm>
            <a:off x="266700" y="972742"/>
            <a:ext cx="8542338" cy="3708116"/>
          </a:xfrm>
          <a:prstGeom prst="rect">
            <a:avLst/>
          </a:prstGeom>
        </p:spPr>
        <p:txBody>
          <a:bodyPr/>
          <a:lstStyle>
            <a:lvl1pPr marL="342900" indent="-342900">
              <a:buFont typeface="Wingdings" charset="2"/>
              <a:buChar char="§"/>
              <a:defRPr sz="1800" b="1"/>
            </a:lvl1pPr>
            <a:lvl2pPr marL="914400" indent="-342900">
              <a:buFont typeface="Arial"/>
              <a:buChar char="•"/>
              <a:defRPr sz="1600"/>
            </a:lvl2pPr>
            <a:lvl3pPr marL="1206500" indent="-285750">
              <a:buFont typeface="Lucida Grande"/>
              <a:buChar char="-"/>
              <a:defRPr sz="1400"/>
            </a:lvl3pPr>
            <a:lvl4pPr marL="342900" indent="-342900">
              <a:buFont typeface="Arial"/>
              <a:buChar char="•"/>
              <a:defRPr/>
            </a:lvl4pPr>
            <a:lvl5pPr marL="342900" indent="-342900">
              <a:buFont typeface="Arial"/>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pic>
        <p:nvPicPr>
          <p:cNvPr id="13" name="Picture 12"/>
          <p:cNvPicPr>
            <a:picLocks noChangeAspect="1"/>
          </p:cNvPicPr>
          <p:nvPr userDrawn="1"/>
        </p:nvPicPr>
        <p:blipFill>
          <a:blip r:embed="rId4"/>
          <a:stretch>
            <a:fillRect/>
          </a:stretch>
        </p:blipFill>
        <p:spPr>
          <a:xfrm>
            <a:off x="197985" y="170627"/>
            <a:ext cx="765283" cy="802115"/>
          </a:xfrm>
          <a:prstGeom prst="rect">
            <a:avLst/>
          </a:prstGeom>
          <a:noFill/>
        </p:spPr>
      </p:pic>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1_Title and Content copy 1">
    <p:spTree>
      <p:nvGrpSpPr>
        <p:cNvPr id="1" name=""/>
        <p:cNvGrpSpPr/>
        <p:nvPr/>
      </p:nvGrpSpPr>
      <p:grpSpPr>
        <a:xfrm>
          <a:off x="0" y="0"/>
          <a:ext cx="0" cy="0"/>
          <a:chOff x="0" y="0"/>
          <a:chExt cx="0" cy="0"/>
        </a:xfrm>
      </p:grpSpPr>
      <p:pic>
        <p:nvPicPr>
          <p:cNvPr id="7" name="image3.jpeg"/>
          <p:cNvPicPr/>
          <p:nvPr/>
        </p:nvPicPr>
        <p:blipFill>
          <a:blip r:embed="rId2">
            <a:extLst/>
          </a:blip>
          <a:stretch>
            <a:fillRect/>
          </a:stretch>
        </p:blipFill>
        <p:spPr>
          <a:xfrm>
            <a:off x="0" y="0"/>
            <a:ext cx="9144000" cy="5143500"/>
          </a:xfrm>
          <a:prstGeom prst="rect">
            <a:avLst/>
          </a:prstGeom>
          <a:ln w="12700">
            <a:miter lim="400000"/>
          </a:ln>
        </p:spPr>
      </p:pic>
      <p:sp>
        <p:nvSpPr>
          <p:cNvPr id="8" name="Shape 8"/>
          <p:cNvSpPr/>
          <p:nvPr/>
        </p:nvSpPr>
        <p:spPr>
          <a:xfrm>
            <a:off x="7824585" y="4944652"/>
            <a:ext cx="2690658" cy="96950"/>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marR="57150" indent="57150" defTabSz="1282700">
              <a:defRPr sz="700" spc="-14">
                <a:solidFill>
                  <a:srgbClr val="959595"/>
                </a:solidFill>
                <a:uFill>
                  <a:solidFill>
                    <a:srgbClr val="7A7A7A"/>
                  </a:solidFill>
                </a:uFill>
                <a:latin typeface="Arial"/>
                <a:ea typeface="Arial"/>
                <a:cs typeface="Arial"/>
                <a:sym typeface="Arial"/>
              </a:defRPr>
            </a:lvl1pPr>
          </a:lstStyle>
          <a:p>
            <a:pPr lvl="0">
              <a:defRPr sz="1800" spc="0">
                <a:solidFill>
                  <a:srgbClr val="000000"/>
                </a:solidFill>
                <a:uFillTx/>
              </a:defRPr>
            </a:pPr>
            <a:r>
              <a:rPr sz="630" spc="-13">
                <a:solidFill>
                  <a:srgbClr val="959595"/>
                </a:solidFill>
                <a:uFill>
                  <a:solidFill>
                    <a:srgbClr val="7A7A7A"/>
                  </a:solidFill>
                </a:uFill>
              </a:rPr>
              <a:t>  ©2015 IBM Corporation </a:t>
            </a:r>
          </a:p>
        </p:txBody>
      </p:sp>
      <p:sp>
        <p:nvSpPr>
          <p:cNvPr id="9" name="Shape 9"/>
          <p:cNvSpPr/>
          <p:nvPr/>
        </p:nvSpPr>
        <p:spPr>
          <a:xfrm>
            <a:off x="7781380" y="4944652"/>
            <a:ext cx="269864" cy="952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rmAutofit lnSpcReduction="10000"/>
          </a:bodyPr>
          <a:lstStyle>
            <a:lvl1pPr>
              <a:defRPr sz="700">
                <a:solidFill>
                  <a:srgbClr val="959595"/>
                </a:solidFill>
                <a:latin typeface="Arial"/>
                <a:ea typeface="Arial"/>
                <a:cs typeface="Arial"/>
                <a:sym typeface="Arial"/>
              </a:defRPr>
            </a:lvl1pPr>
          </a:lstStyle>
          <a:p>
            <a:pPr lvl="0">
              <a:defRPr sz="1800">
                <a:solidFill>
                  <a:srgbClr val="000000"/>
                </a:solidFill>
              </a:defRPr>
            </a:pPr>
            <a:r>
              <a:rPr sz="630">
                <a:solidFill>
                  <a:srgbClr val="959595"/>
                </a:solidFill>
              </a:rPr>
              <a:t>￼</a:t>
            </a:r>
          </a:p>
        </p:txBody>
      </p:sp>
      <p:pic>
        <p:nvPicPr>
          <p:cNvPr id="10" name="image4.png"/>
          <p:cNvPicPr/>
          <p:nvPr/>
        </p:nvPicPr>
        <p:blipFill>
          <a:blip r:embed="rId3">
            <a:alphaModFix amt="80000"/>
            <a:extLst/>
          </a:blip>
          <a:stretch>
            <a:fillRect/>
          </a:stretch>
        </p:blipFill>
        <p:spPr>
          <a:xfrm>
            <a:off x="197984" y="4800264"/>
            <a:ext cx="765283" cy="203464"/>
          </a:xfrm>
          <a:prstGeom prst="rect">
            <a:avLst/>
          </a:prstGeom>
          <a:ln w="12700">
            <a:miter lim="400000"/>
          </a:ln>
        </p:spPr>
      </p:pic>
      <p:sp>
        <p:nvSpPr>
          <p:cNvPr id="6" name="Title 1"/>
          <p:cNvSpPr>
            <a:spLocks noGrp="1"/>
          </p:cNvSpPr>
          <p:nvPr>
            <p:ph type="title"/>
          </p:nvPr>
        </p:nvSpPr>
        <p:spPr>
          <a:xfrm>
            <a:off x="1149275" y="362998"/>
            <a:ext cx="7346390" cy="415528"/>
          </a:xfrm>
          <a:prstGeom prst="rect">
            <a:avLst/>
          </a:prstGeom>
        </p:spPr>
        <p:txBody>
          <a:bodyPr/>
          <a:lstStyle>
            <a:lvl1pPr>
              <a:defRPr b="1"/>
            </a:lvl1pPr>
          </a:lstStyle>
          <a:p>
            <a:pPr eaLnBrk="1" hangingPunct="1">
              <a:defRPr/>
            </a:pPr>
            <a:endParaRPr lang="en-US" dirty="0" smtClean="0">
              <a:cs typeface="+mj-cs"/>
            </a:endParaRPr>
          </a:p>
        </p:txBody>
      </p:sp>
      <p:sp>
        <p:nvSpPr>
          <p:cNvPr id="11" name="Content Placeholder 2"/>
          <p:cNvSpPr>
            <a:spLocks noGrp="1"/>
          </p:cNvSpPr>
          <p:nvPr>
            <p:ph idx="1"/>
          </p:nvPr>
        </p:nvSpPr>
        <p:spPr>
          <a:xfrm>
            <a:off x="266700" y="972742"/>
            <a:ext cx="8542338" cy="3708116"/>
          </a:xfrm>
          <a:prstGeom prst="rect">
            <a:avLst/>
          </a:prstGeom>
        </p:spPr>
        <p:txBody>
          <a:bodyPr/>
          <a:lstStyle>
            <a:lvl1pPr marL="308610" indent="-308610">
              <a:buFont typeface="Wingdings" charset="2"/>
              <a:buChar char="§"/>
              <a:defRPr sz="1800" b="1"/>
            </a:lvl1pPr>
            <a:lvl2pPr marL="822960" indent="-308610">
              <a:buFont typeface="Arial"/>
              <a:buChar char="•"/>
              <a:defRPr sz="1620"/>
            </a:lvl2pPr>
            <a:lvl3pPr marL="1085850" indent="-257175">
              <a:buFont typeface="Lucida Grande"/>
              <a:buChar char="-"/>
              <a:defRPr sz="1440"/>
            </a:lvl3pPr>
            <a:lvl4pPr marL="308610" indent="-308610">
              <a:buFont typeface="Arial"/>
              <a:buChar char="•"/>
              <a:defRPr/>
            </a:lvl4pPr>
            <a:lvl5pPr marL="308610" indent="-308610">
              <a:buFont typeface="Arial"/>
              <a:buChar char="•"/>
              <a:defRPr/>
            </a:lvl5pPr>
          </a:lstStyle>
          <a:p>
            <a:pPr lvl="0"/>
            <a:r>
              <a:rPr lang="en-US" dirty="0" smtClean="0"/>
              <a:t>Click to edit Master text styles</a:t>
            </a:r>
          </a:p>
          <a:p>
            <a:pPr lvl="1"/>
            <a:r>
              <a:rPr lang="en-US" dirty="0" smtClean="0"/>
              <a:t>Second level</a:t>
            </a:r>
          </a:p>
          <a:p>
            <a:pPr lvl="2"/>
            <a:r>
              <a:rPr lang="en-US" dirty="0" smtClean="0"/>
              <a:t>Third level</a:t>
            </a:r>
          </a:p>
        </p:txBody>
      </p:sp>
      <p:sp>
        <p:nvSpPr>
          <p:cNvPr id="12" name="TextBox 11"/>
          <p:cNvSpPr txBox="1"/>
          <p:nvPr userDrawn="1"/>
        </p:nvSpPr>
        <p:spPr>
          <a:xfrm>
            <a:off x="2604704" y="4941800"/>
            <a:ext cx="4198626" cy="235445"/>
          </a:xfrm>
          <a:prstGeom prst="rect">
            <a:avLst/>
          </a:prstGeom>
          <a:noFill/>
          <a:ln w="12700" cap="flat">
            <a:noFill/>
            <a:miter lim="400000"/>
          </a:ln>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1146" tIns="41146" rIns="41146" bIns="41146" numCol="1" spcCol="38100" rtlCol="0" anchor="t">
            <a:spAutoFit/>
          </a:bodyPr>
          <a:lstStyle/>
          <a:p>
            <a:pPr marL="0" marR="0" indent="0" algn="ctr" defTabSz="411480" rtl="0" fontAlgn="auto" latinLnBrk="1" hangingPunct="0">
              <a:lnSpc>
                <a:spcPct val="100000"/>
              </a:lnSpc>
              <a:spcBef>
                <a:spcPts val="0"/>
              </a:spcBef>
              <a:spcAft>
                <a:spcPts val="0"/>
              </a:spcAft>
              <a:buClrTx/>
              <a:buSzTx/>
              <a:buFontTx/>
              <a:buNone/>
              <a:tabLst/>
            </a:pPr>
            <a:r>
              <a:rPr kumimoji="0" lang="en-US" sz="990" b="1" i="0" u="none" strike="noStrike" cap="none" spc="0" normalizeH="0" baseline="0" dirty="0" smtClean="0">
                <a:ln>
                  <a:noFill/>
                </a:ln>
                <a:solidFill>
                  <a:srgbClr val="000000"/>
                </a:solidFill>
                <a:effectLst/>
                <a:uFillTx/>
                <a:latin typeface="+mn-lt"/>
                <a:ea typeface="+mn-ea"/>
                <a:cs typeface="+mn-cs"/>
                <a:sym typeface="Helvetica Neue"/>
              </a:rPr>
              <a:t>IBM Internal</a:t>
            </a:r>
            <a:endParaRPr kumimoji="0" lang="en-US" sz="990" b="1" i="0" u="none" strike="noStrike" cap="none" spc="0" normalizeH="0" baseline="0" dirty="0">
              <a:ln>
                <a:noFill/>
              </a:ln>
              <a:solidFill>
                <a:srgbClr val="000000"/>
              </a:solidFill>
              <a:effectLst/>
              <a:uFillTx/>
              <a:latin typeface="+mn-lt"/>
              <a:ea typeface="+mn-ea"/>
              <a:cs typeface="+mn-cs"/>
              <a:sym typeface="Helvetica Neue"/>
            </a:endParaRPr>
          </a:p>
        </p:txBody>
      </p:sp>
      <p:pic>
        <p:nvPicPr>
          <p:cNvPr id="13" name="Picture 12"/>
          <p:cNvPicPr>
            <a:picLocks noChangeAspect="1"/>
          </p:cNvPicPr>
          <p:nvPr userDrawn="1"/>
        </p:nvPicPr>
        <p:blipFill>
          <a:blip r:embed="rId4"/>
          <a:stretch>
            <a:fillRect/>
          </a:stretch>
        </p:blipFill>
        <p:spPr>
          <a:xfrm>
            <a:off x="197984" y="170627"/>
            <a:ext cx="868817" cy="802115"/>
          </a:xfrm>
          <a:prstGeom prst="rect">
            <a:avLst/>
          </a:prstGeom>
          <a:noFill/>
        </p:spPr>
      </p:pic>
    </p:spTree>
    <p:extLst>
      <p:ext uri="{BB962C8B-B14F-4D97-AF65-F5344CB8AC3E}">
        <p14:creationId xmlns:p14="http://schemas.microsoft.com/office/powerpoint/2010/main" val="1615648953"/>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Title and Content copy 6">
    <p:spTree>
      <p:nvGrpSpPr>
        <p:cNvPr id="1" name=""/>
        <p:cNvGrpSpPr/>
        <p:nvPr/>
      </p:nvGrpSpPr>
      <p:grpSpPr>
        <a:xfrm>
          <a:off x="0" y="0"/>
          <a:ext cx="0" cy="0"/>
          <a:chOff x="0" y="0"/>
          <a:chExt cx="0" cy="0"/>
        </a:xfrm>
      </p:grpSpPr>
    </p:spTree>
    <p:extLst>
      <p:ext uri="{BB962C8B-B14F-4D97-AF65-F5344CB8AC3E}">
        <p14:creationId xmlns:p14="http://schemas.microsoft.com/office/powerpoint/2010/main" val="991817080"/>
      </p:ext>
    </p:extLst>
  </p:cSld>
  <p:clrMapOvr>
    <a:masterClrMapping/>
  </p:clrMapOvr>
  <p:transition spd="med"/>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a:stretch>
            <a:fillRect/>
          </a:stretch>
        </p:blipFill>
        <p:spPr>
          <a:xfrm>
            <a:off x="0" y="0"/>
            <a:ext cx="9144000" cy="5143500"/>
          </a:xfrm>
          <a:prstGeom prst="rect">
            <a:avLst/>
          </a:prstGeom>
        </p:spPr>
      </p:pic>
      <p:pic>
        <p:nvPicPr>
          <p:cNvPr id="6" name="IBM_8Bar-White.png"/>
          <p:cNvPicPr/>
          <p:nvPr userDrawn="1"/>
        </p:nvPicPr>
        <p:blipFill>
          <a:blip r:embed="rId6" cstate="screen">
            <a:extLst>
              <a:ext uri="{28A0092B-C50C-407E-A947-70E740481C1C}">
                <a14:useLocalDpi xmlns:a14="http://schemas.microsoft.com/office/drawing/2010/main"/>
              </a:ext>
            </a:extLst>
          </a:blip>
          <a:stretch>
            <a:fillRect/>
          </a:stretch>
        </p:blipFill>
        <p:spPr>
          <a:xfrm>
            <a:off x="185703" y="226088"/>
            <a:ext cx="611782" cy="451359"/>
          </a:xfrm>
          <a:prstGeom prst="rect">
            <a:avLst/>
          </a:prstGeom>
          <a:ln w="12700">
            <a:miter lim="400000"/>
          </a:ln>
        </p:spPr>
      </p:pic>
      <p:pic>
        <p:nvPicPr>
          <p:cNvPr id="5" name="image4.png"/>
          <p:cNvPicPr/>
          <p:nvPr userDrawn="1"/>
        </p:nvPicPr>
        <p:blipFill>
          <a:blip r:embed="rId7">
            <a:alphaModFix amt="80000"/>
            <a:extLst/>
          </a:blip>
          <a:stretch>
            <a:fillRect/>
          </a:stretch>
        </p:blipFill>
        <p:spPr>
          <a:xfrm>
            <a:off x="915632" y="195083"/>
            <a:ext cx="1456087" cy="513371"/>
          </a:xfrm>
          <a:prstGeom prst="rect">
            <a:avLst/>
          </a:prstGeom>
          <a:noFill/>
          <a:ln w="12700">
            <a:miter lim="400000"/>
          </a:ln>
        </p:spPr>
      </p:pic>
    </p:spTree>
  </p:cSld>
  <p:clrMap bg1="lt1" tx1="dk1" bg2="lt2" tx2="dk2" accent1="accent1" accent2="accent2" accent3="accent3" accent4="accent4" accent5="accent5" accent6="accent6" hlink="hlink" folHlink="folHlink"/>
  <p:sldLayoutIdLst>
    <p:sldLayoutId id="2147483649" r:id="rId1"/>
    <p:sldLayoutId id="2147483651" r:id="rId2"/>
    <p:sldLayoutId id="2147483674" r:id="rId3"/>
  </p:sldLayoutIdLst>
  <p:transition spd="med"/>
  <p:txStyles>
    <p:titleStyle>
      <a:lvl1pPr defTabSz="457200">
        <a:lnSpc>
          <a:spcPct val="95000"/>
        </a:lnSpc>
        <a:defRPr sz="2800">
          <a:latin typeface="HelvNeue Bold for IBM"/>
          <a:ea typeface="HelvNeue Bold for IBM"/>
          <a:cs typeface="HelvNeue Bold for IBM"/>
          <a:sym typeface="HelvNeue Bold for IBM"/>
        </a:defRPr>
      </a:lvl1pPr>
      <a:lvl2pPr defTabSz="457200">
        <a:lnSpc>
          <a:spcPct val="95000"/>
        </a:lnSpc>
        <a:defRPr sz="2800">
          <a:latin typeface="HelvNeue Bold for IBM"/>
          <a:ea typeface="HelvNeue Bold for IBM"/>
          <a:cs typeface="HelvNeue Bold for IBM"/>
          <a:sym typeface="HelvNeue Bold for IBM"/>
        </a:defRPr>
      </a:lvl2pPr>
      <a:lvl3pPr defTabSz="457200">
        <a:lnSpc>
          <a:spcPct val="95000"/>
        </a:lnSpc>
        <a:defRPr sz="2800">
          <a:latin typeface="HelvNeue Bold for IBM"/>
          <a:ea typeface="HelvNeue Bold for IBM"/>
          <a:cs typeface="HelvNeue Bold for IBM"/>
          <a:sym typeface="HelvNeue Bold for IBM"/>
        </a:defRPr>
      </a:lvl3pPr>
      <a:lvl4pPr defTabSz="457200">
        <a:lnSpc>
          <a:spcPct val="95000"/>
        </a:lnSpc>
        <a:defRPr sz="2800">
          <a:latin typeface="HelvNeue Bold for IBM"/>
          <a:ea typeface="HelvNeue Bold for IBM"/>
          <a:cs typeface="HelvNeue Bold for IBM"/>
          <a:sym typeface="HelvNeue Bold for IBM"/>
        </a:defRPr>
      </a:lvl4pPr>
      <a:lvl5pPr defTabSz="457200">
        <a:lnSpc>
          <a:spcPct val="95000"/>
        </a:lnSpc>
        <a:defRPr sz="2800">
          <a:latin typeface="HelvNeue Bold for IBM"/>
          <a:ea typeface="HelvNeue Bold for IBM"/>
          <a:cs typeface="HelvNeue Bold for IBM"/>
          <a:sym typeface="HelvNeue Bold for IBM"/>
        </a:defRPr>
      </a:lvl5pPr>
      <a:lvl6pPr defTabSz="457200">
        <a:lnSpc>
          <a:spcPct val="95000"/>
        </a:lnSpc>
        <a:defRPr sz="2800">
          <a:latin typeface="HelvNeue Bold for IBM"/>
          <a:ea typeface="HelvNeue Bold for IBM"/>
          <a:cs typeface="HelvNeue Bold for IBM"/>
          <a:sym typeface="HelvNeue Bold for IBM"/>
        </a:defRPr>
      </a:lvl6pPr>
      <a:lvl7pPr defTabSz="457200">
        <a:lnSpc>
          <a:spcPct val="95000"/>
        </a:lnSpc>
        <a:defRPr sz="2800">
          <a:latin typeface="HelvNeue Bold for IBM"/>
          <a:ea typeface="HelvNeue Bold for IBM"/>
          <a:cs typeface="HelvNeue Bold for IBM"/>
          <a:sym typeface="HelvNeue Bold for IBM"/>
        </a:defRPr>
      </a:lvl7pPr>
      <a:lvl8pPr defTabSz="457200">
        <a:lnSpc>
          <a:spcPct val="95000"/>
        </a:lnSpc>
        <a:defRPr sz="2800">
          <a:latin typeface="HelvNeue Bold for IBM"/>
          <a:ea typeface="HelvNeue Bold for IBM"/>
          <a:cs typeface="HelvNeue Bold for IBM"/>
          <a:sym typeface="HelvNeue Bold for IBM"/>
        </a:defRPr>
      </a:lvl8pPr>
      <a:lvl9pPr defTabSz="457200">
        <a:lnSpc>
          <a:spcPct val="95000"/>
        </a:lnSpc>
        <a:defRPr sz="2800">
          <a:latin typeface="HelvNeue Bold for IBM"/>
          <a:ea typeface="HelvNeue Bold for IBM"/>
          <a:cs typeface="HelvNeue Bold for IBM"/>
          <a:sym typeface="HelvNeue Bold for IBM"/>
        </a:defRPr>
      </a:lvl9pPr>
    </p:titleStyle>
    <p:bodyStyle>
      <a:lvl1pPr defTabSz="457200">
        <a:spcBef>
          <a:spcPts val="500"/>
        </a:spcBef>
        <a:buClr>
          <a:srgbClr val="34B1EC"/>
        </a:buClr>
        <a:buFont typeface="Arial"/>
        <a:defRPr sz="2200">
          <a:latin typeface="HelvNeue Roman for IBM"/>
          <a:ea typeface="HelvNeue Roman for IBM"/>
          <a:cs typeface="HelvNeue Roman for IBM"/>
          <a:sym typeface="HelvNeue Roman for IBM"/>
        </a:defRPr>
      </a:lvl1pPr>
      <a:lvl2pPr indent="847725" defTabSz="457200">
        <a:spcBef>
          <a:spcPts val="500"/>
        </a:spcBef>
        <a:buClr>
          <a:srgbClr val="34B1EC"/>
        </a:buClr>
        <a:buFont typeface="Arial"/>
        <a:defRPr sz="2200">
          <a:latin typeface="HelvNeue Roman for IBM"/>
          <a:ea typeface="HelvNeue Roman for IBM"/>
          <a:cs typeface="HelvNeue Roman for IBM"/>
          <a:sym typeface="HelvNeue Roman for IBM"/>
        </a:defRPr>
      </a:lvl2pPr>
      <a:lvl3pPr indent="1150937" defTabSz="457200">
        <a:spcBef>
          <a:spcPts val="500"/>
        </a:spcBef>
        <a:buClr>
          <a:srgbClr val="34B1EC"/>
        </a:buClr>
        <a:buFont typeface="Arial"/>
        <a:defRPr sz="2200">
          <a:latin typeface="HelvNeue Roman for IBM"/>
          <a:ea typeface="HelvNeue Roman for IBM"/>
          <a:cs typeface="HelvNeue Roman for IBM"/>
          <a:sym typeface="HelvNeue Roman for IBM"/>
        </a:defRPr>
      </a:lvl3pPr>
      <a:lvl4pPr indent="1622425" defTabSz="457200">
        <a:spcBef>
          <a:spcPts val="500"/>
        </a:spcBef>
        <a:buClr>
          <a:srgbClr val="34B1EC"/>
        </a:buClr>
        <a:buFont typeface="Arial"/>
        <a:defRPr sz="2200">
          <a:latin typeface="HelvNeue Roman for IBM"/>
          <a:ea typeface="HelvNeue Roman for IBM"/>
          <a:cs typeface="HelvNeue Roman for IBM"/>
          <a:sym typeface="HelvNeue Roman for IBM"/>
        </a:defRPr>
      </a:lvl4pPr>
      <a:lvl5pPr indent="1828800" defTabSz="457200">
        <a:spcBef>
          <a:spcPts val="500"/>
        </a:spcBef>
        <a:buClr>
          <a:srgbClr val="34B1EC"/>
        </a:buClr>
        <a:buFont typeface="Arial"/>
        <a:defRPr sz="2200">
          <a:latin typeface="HelvNeue Roman for IBM"/>
          <a:ea typeface="HelvNeue Roman for IBM"/>
          <a:cs typeface="HelvNeue Roman for IBM"/>
          <a:sym typeface="HelvNeue Roman for IBM"/>
        </a:defRPr>
      </a:lvl5pPr>
      <a:lvl6pPr indent="2286000" defTabSz="457200">
        <a:spcBef>
          <a:spcPts val="500"/>
        </a:spcBef>
        <a:buClr>
          <a:srgbClr val="34B1EC"/>
        </a:buClr>
        <a:buFont typeface="Arial"/>
        <a:defRPr sz="2200">
          <a:latin typeface="HelvNeue Roman for IBM"/>
          <a:ea typeface="HelvNeue Roman for IBM"/>
          <a:cs typeface="HelvNeue Roman for IBM"/>
          <a:sym typeface="HelvNeue Roman for IBM"/>
        </a:defRPr>
      </a:lvl6pPr>
      <a:lvl7pPr indent="2743200" defTabSz="457200">
        <a:spcBef>
          <a:spcPts val="500"/>
        </a:spcBef>
        <a:buClr>
          <a:srgbClr val="34B1EC"/>
        </a:buClr>
        <a:buFont typeface="Arial"/>
        <a:defRPr sz="2200">
          <a:latin typeface="HelvNeue Roman for IBM"/>
          <a:ea typeface="HelvNeue Roman for IBM"/>
          <a:cs typeface="HelvNeue Roman for IBM"/>
          <a:sym typeface="HelvNeue Roman for IBM"/>
        </a:defRPr>
      </a:lvl7pPr>
      <a:lvl8pPr indent="3200400" defTabSz="457200">
        <a:spcBef>
          <a:spcPts val="500"/>
        </a:spcBef>
        <a:buClr>
          <a:srgbClr val="34B1EC"/>
        </a:buClr>
        <a:buFont typeface="Arial"/>
        <a:defRPr sz="2200">
          <a:latin typeface="HelvNeue Roman for IBM"/>
          <a:ea typeface="HelvNeue Roman for IBM"/>
          <a:cs typeface="HelvNeue Roman for IBM"/>
          <a:sym typeface="HelvNeue Roman for IBM"/>
        </a:defRPr>
      </a:lvl8pPr>
      <a:lvl9pPr indent="3657600" defTabSz="457200">
        <a:spcBef>
          <a:spcPts val="500"/>
        </a:spcBef>
        <a:buClr>
          <a:srgbClr val="34B1EC"/>
        </a:buClr>
        <a:buFont typeface="Arial"/>
        <a:defRPr sz="2200">
          <a:latin typeface="HelvNeue Roman for IBM"/>
          <a:ea typeface="HelvNeue Roman for IBM"/>
          <a:cs typeface="HelvNeue Roman for IBM"/>
          <a:sym typeface="HelvNeue Roman for IBM"/>
        </a:defRPr>
      </a:lvl9pPr>
    </p:bodyStyle>
    <p:otherStyle>
      <a:lvl1pPr algn="r" defTabSz="457200">
        <a:defRPr sz="1200">
          <a:solidFill>
            <a:schemeClr val="tx1"/>
          </a:solidFill>
          <a:latin typeface="+mn-lt"/>
          <a:ea typeface="+mn-ea"/>
          <a:cs typeface="+mn-cs"/>
          <a:sym typeface="Arial"/>
        </a:defRPr>
      </a:lvl1pPr>
      <a:lvl2pPr algn="r" defTabSz="457200">
        <a:defRPr sz="1200">
          <a:solidFill>
            <a:schemeClr val="tx1"/>
          </a:solidFill>
          <a:latin typeface="+mn-lt"/>
          <a:ea typeface="+mn-ea"/>
          <a:cs typeface="+mn-cs"/>
          <a:sym typeface="Arial"/>
        </a:defRPr>
      </a:lvl2pPr>
      <a:lvl3pPr algn="r" defTabSz="457200">
        <a:defRPr sz="1200">
          <a:solidFill>
            <a:schemeClr val="tx1"/>
          </a:solidFill>
          <a:latin typeface="+mn-lt"/>
          <a:ea typeface="+mn-ea"/>
          <a:cs typeface="+mn-cs"/>
          <a:sym typeface="Arial"/>
        </a:defRPr>
      </a:lvl3pPr>
      <a:lvl4pPr algn="r" defTabSz="457200">
        <a:defRPr sz="1200">
          <a:solidFill>
            <a:schemeClr val="tx1"/>
          </a:solidFill>
          <a:latin typeface="+mn-lt"/>
          <a:ea typeface="+mn-ea"/>
          <a:cs typeface="+mn-cs"/>
          <a:sym typeface="Arial"/>
        </a:defRPr>
      </a:lvl4pPr>
      <a:lvl5pPr algn="r" defTabSz="457200">
        <a:defRPr sz="1200">
          <a:solidFill>
            <a:schemeClr val="tx1"/>
          </a:solidFill>
          <a:latin typeface="+mn-lt"/>
          <a:ea typeface="+mn-ea"/>
          <a:cs typeface="+mn-cs"/>
          <a:sym typeface="Arial"/>
        </a:defRPr>
      </a:lvl5pPr>
      <a:lvl6pPr algn="r" defTabSz="457200">
        <a:defRPr sz="1200">
          <a:solidFill>
            <a:schemeClr val="tx1"/>
          </a:solidFill>
          <a:latin typeface="+mn-lt"/>
          <a:ea typeface="+mn-ea"/>
          <a:cs typeface="+mn-cs"/>
          <a:sym typeface="Arial"/>
        </a:defRPr>
      </a:lvl6pPr>
      <a:lvl7pPr algn="r" defTabSz="457200">
        <a:defRPr sz="1200">
          <a:solidFill>
            <a:schemeClr val="tx1"/>
          </a:solidFill>
          <a:latin typeface="+mn-lt"/>
          <a:ea typeface="+mn-ea"/>
          <a:cs typeface="+mn-cs"/>
          <a:sym typeface="Arial"/>
        </a:defRPr>
      </a:lvl7pPr>
      <a:lvl8pPr algn="r" defTabSz="457200">
        <a:defRPr sz="1200">
          <a:solidFill>
            <a:schemeClr val="tx1"/>
          </a:solidFill>
          <a:latin typeface="+mn-lt"/>
          <a:ea typeface="+mn-ea"/>
          <a:cs typeface="+mn-cs"/>
          <a:sym typeface="Arial"/>
        </a:defRPr>
      </a:lvl8pPr>
      <a:lvl9pPr algn="r" defTabSz="457200">
        <a:defRPr sz="1200">
          <a:solidFill>
            <a:schemeClr val="tx1"/>
          </a:solidFill>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3" y="1200151"/>
            <a:ext cx="8534401" cy="2822972"/>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Date Placeholder 3"/>
          <p:cNvSpPr>
            <a:spLocks noGrp="1"/>
          </p:cNvSpPr>
          <p:nvPr>
            <p:ph type="dt" sz="half" idx="2"/>
          </p:nvPr>
        </p:nvSpPr>
        <p:spPr>
          <a:xfrm>
            <a:off x="7198659" y="4767264"/>
            <a:ext cx="1752600" cy="273844"/>
          </a:xfrm>
          <a:prstGeom prst="rect">
            <a:avLst/>
          </a:prstGeom>
        </p:spPr>
        <p:txBody>
          <a:bodyPr vert="horz" lIns="91440" tIns="45720" rIns="91440" bIns="45720" rtlCol="0" anchor="ctr"/>
          <a:lstStyle>
            <a:lvl1pPr algn="r">
              <a:defRPr sz="825" b="1">
                <a:solidFill>
                  <a:schemeClr val="tx2">
                    <a:lumMod val="60000"/>
                    <a:lumOff val="40000"/>
                  </a:schemeClr>
                </a:solidFill>
              </a:defRPr>
            </a:lvl1pPr>
          </a:lstStyle>
          <a:p>
            <a:pPr defTabSz="685800" rtl="0"/>
            <a:fld id="{49AC2952-3E45-40CD-80A8-86F3193A59A4}" type="slidenum">
              <a:rPr lang="en-US" kern="1200" smtClean="0">
                <a:solidFill>
                  <a:srgbClr val="3E3D2D">
                    <a:lumMod val="60000"/>
                    <a:lumOff val="40000"/>
                  </a:srgbClr>
                </a:solidFill>
              </a:rPr>
              <a:pPr defTabSz="685800" rtl="0"/>
              <a:t>‹#›</a:t>
            </a:fld>
            <a:endParaRPr lang="en-US" kern="1200" dirty="0">
              <a:solidFill>
                <a:srgbClr val="3E3D2D">
                  <a:lumMod val="60000"/>
                  <a:lumOff val="40000"/>
                </a:srgbClr>
              </a:solidFill>
            </a:endParaRPr>
          </a:p>
        </p:txBody>
      </p:sp>
      <p:sp>
        <p:nvSpPr>
          <p:cNvPr id="5" name="Footer Placeholder 4"/>
          <p:cNvSpPr>
            <a:spLocks noGrp="1"/>
          </p:cNvSpPr>
          <p:nvPr>
            <p:ph type="ftr" sz="quarter" idx="3"/>
          </p:nvPr>
        </p:nvSpPr>
        <p:spPr>
          <a:xfrm>
            <a:off x="174812" y="4767264"/>
            <a:ext cx="6007100" cy="273844"/>
          </a:xfrm>
          <a:prstGeom prst="rect">
            <a:avLst/>
          </a:prstGeom>
        </p:spPr>
        <p:txBody>
          <a:bodyPr vert="horz" lIns="91440" tIns="45720" rIns="91440" bIns="45720" rtlCol="0" anchor="ctr"/>
          <a:lstStyle>
            <a:lvl1pPr algn="l">
              <a:defRPr sz="825" b="1">
                <a:solidFill>
                  <a:schemeClr val="tx2">
                    <a:lumMod val="60000"/>
                    <a:lumOff val="40000"/>
                  </a:schemeClr>
                </a:solidFill>
              </a:defRPr>
            </a:lvl1pPr>
          </a:lstStyle>
          <a:p>
            <a:pPr defTabSz="685800" rtl="0"/>
            <a:endParaRPr lang="en-US" kern="1200" dirty="0">
              <a:solidFill>
                <a:srgbClr val="3E3D2D">
                  <a:lumMod val="60000"/>
                  <a:lumOff val="40000"/>
                </a:srgbClr>
              </a:solidFill>
            </a:endParaRPr>
          </a:p>
        </p:txBody>
      </p:sp>
      <p:sp>
        <p:nvSpPr>
          <p:cNvPr id="2" name="Title Placeholder 1"/>
          <p:cNvSpPr>
            <a:spLocks noGrp="1"/>
          </p:cNvSpPr>
          <p:nvPr>
            <p:ph type="title"/>
          </p:nvPr>
        </p:nvSpPr>
        <p:spPr>
          <a:xfrm>
            <a:off x="304803" y="57150"/>
            <a:ext cx="8534401" cy="857250"/>
          </a:xfrm>
          <a:prstGeom prst="rect">
            <a:avLst/>
          </a:prstGeom>
        </p:spPr>
        <p:txBody>
          <a:bodyPr vert="horz" lIns="91440" tIns="45720" rIns="91440" bIns="45720" rtlCol="0" anchor="ctr" anchorCtr="0">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3361598930"/>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hf hdr="0" ftr="0" dt="0"/>
  <p:txStyles>
    <p:titleStyle>
      <a:lvl1pPr algn="l" defTabSz="685800" rtl="0" eaLnBrk="1" latinLnBrk="0" hangingPunct="1">
        <a:spcBef>
          <a:spcPct val="0"/>
        </a:spcBef>
        <a:buNone/>
        <a:defRPr sz="1950" b="0" kern="1200">
          <a:solidFill>
            <a:schemeClr val="tx1">
              <a:lumMod val="65000"/>
              <a:lumOff val="35000"/>
            </a:schemeClr>
          </a:solidFill>
          <a:latin typeface="+mj-lt"/>
          <a:ea typeface="+mj-ea"/>
          <a:cs typeface="+mj-cs"/>
        </a:defRPr>
      </a:lvl1pPr>
    </p:titleStyle>
    <p:bodyStyle>
      <a:lvl1pPr marL="171450" indent="-171450" algn="l" defTabSz="685800" rtl="0" eaLnBrk="1" latinLnBrk="0" hangingPunct="1">
        <a:spcBef>
          <a:spcPts val="1350"/>
        </a:spcBef>
        <a:buClr>
          <a:schemeClr val="accent1"/>
        </a:buClr>
        <a:buSzPct val="100000"/>
        <a:buFont typeface="Wingdings 2" pitchFamily="18" charset="2"/>
        <a:buChar char="¡"/>
        <a:defRPr sz="1500" kern="1200">
          <a:solidFill>
            <a:schemeClr val="tx1">
              <a:lumMod val="50000"/>
              <a:lumOff val="50000"/>
            </a:schemeClr>
          </a:solidFill>
          <a:latin typeface="Century Gothic" pitchFamily="34" charset="0"/>
          <a:ea typeface="+mn-ea"/>
          <a:cs typeface="+mn-cs"/>
        </a:defRPr>
      </a:lvl1pPr>
      <a:lvl2pPr marL="342900" indent="-171450" algn="l" defTabSz="685800" rtl="0" eaLnBrk="1" latinLnBrk="0" hangingPunct="1">
        <a:spcBef>
          <a:spcPts val="450"/>
        </a:spcBef>
        <a:buClr>
          <a:schemeClr val="accent1">
            <a:lumMod val="50000"/>
          </a:schemeClr>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2pPr>
      <a:lvl3pPr marL="514350" indent="-171450" algn="l" defTabSz="685800" rtl="0" eaLnBrk="1" latinLnBrk="0" hangingPunct="1">
        <a:spcBef>
          <a:spcPts val="450"/>
        </a:spcBef>
        <a:buClr>
          <a:schemeClr val="accent1"/>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3pPr>
      <a:lvl4pPr marL="685800" indent="-171450" algn="l" defTabSz="685800" rtl="0" eaLnBrk="1" latinLnBrk="0" hangingPunct="1">
        <a:spcBef>
          <a:spcPts val="450"/>
        </a:spcBef>
        <a:buClr>
          <a:schemeClr val="accent1">
            <a:lumMod val="50000"/>
          </a:schemeClr>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4pPr>
      <a:lvl5pPr marL="857250" indent="-171450" algn="l" defTabSz="685800" rtl="0" eaLnBrk="1" latinLnBrk="0" hangingPunct="1">
        <a:spcBef>
          <a:spcPts val="450"/>
        </a:spcBef>
        <a:buClr>
          <a:schemeClr val="accent1"/>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5pPr>
      <a:lvl6pPr marL="1033463" indent="-171450" algn="l" defTabSz="685800" rtl="0" eaLnBrk="1" latinLnBrk="0" hangingPunct="1">
        <a:spcBef>
          <a:spcPct val="20000"/>
        </a:spcBef>
        <a:buClr>
          <a:schemeClr val="accent1">
            <a:lumMod val="50000"/>
          </a:schemeClr>
        </a:buClr>
        <a:buFont typeface="Wingdings 2" pitchFamily="18" charset="2"/>
        <a:buChar char=""/>
        <a:defRPr lang="en-US" sz="1350" kern="1200" dirty="0" smtClean="0">
          <a:solidFill>
            <a:schemeClr val="tx2"/>
          </a:solidFill>
          <a:latin typeface="+mn-lt"/>
          <a:ea typeface="+mn-ea"/>
          <a:cs typeface="+mn-cs"/>
        </a:defRPr>
      </a:lvl6pPr>
      <a:lvl7pPr marL="1202531" indent="-171450" algn="l" defTabSz="685800" rtl="0" eaLnBrk="1" latinLnBrk="0" hangingPunct="1">
        <a:spcBef>
          <a:spcPct val="20000"/>
        </a:spcBef>
        <a:buClr>
          <a:schemeClr val="accent1"/>
        </a:buClr>
        <a:buFont typeface="Wingdings 2" pitchFamily="18" charset="2"/>
        <a:buChar char=""/>
        <a:defRPr lang="en-US" sz="1350" kern="1200" dirty="0" smtClean="0">
          <a:solidFill>
            <a:schemeClr val="tx2"/>
          </a:solidFill>
          <a:latin typeface="+mn-lt"/>
          <a:ea typeface="+mn-ea"/>
          <a:cs typeface="+mn-cs"/>
        </a:defRPr>
      </a:lvl7pPr>
      <a:lvl8pPr marL="1372791" indent="-171450" algn="l" defTabSz="685800" rtl="0" eaLnBrk="1" latinLnBrk="0" hangingPunct="1">
        <a:spcBef>
          <a:spcPct val="20000"/>
        </a:spcBef>
        <a:buClr>
          <a:schemeClr val="accent1">
            <a:lumMod val="50000"/>
          </a:schemeClr>
        </a:buClr>
        <a:buFont typeface="Wingdings 2" pitchFamily="18" charset="2"/>
        <a:buChar char=""/>
        <a:defRPr lang="en-US" sz="1350" kern="1200" dirty="0" smtClean="0">
          <a:solidFill>
            <a:schemeClr val="tx2"/>
          </a:solidFill>
          <a:latin typeface="+mn-lt"/>
          <a:ea typeface="+mn-ea"/>
          <a:cs typeface="+mn-cs"/>
        </a:defRPr>
      </a:lvl8pPr>
      <a:lvl9pPr marL="1543050" indent="-171450" algn="l" defTabSz="685800" rtl="0" eaLnBrk="1" latinLnBrk="0" hangingPunct="1">
        <a:spcBef>
          <a:spcPct val="20000"/>
        </a:spcBef>
        <a:buClr>
          <a:schemeClr val="accent1"/>
        </a:buClr>
        <a:buFont typeface="Wingdings 2" pitchFamily="18" charset="2"/>
        <a:buChar char=""/>
        <a:defRPr lang="en-US" sz="1350" kern="1200" dirty="0">
          <a:solidFill>
            <a:schemeClr val="tx2"/>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04802" y="1200154"/>
            <a:ext cx="8534401" cy="28229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Date Placeholder 3"/>
          <p:cNvSpPr>
            <a:spLocks noGrp="1"/>
          </p:cNvSpPr>
          <p:nvPr>
            <p:ph type="dt" sz="half" idx="2"/>
          </p:nvPr>
        </p:nvSpPr>
        <p:spPr>
          <a:xfrm>
            <a:off x="7198659" y="4767267"/>
            <a:ext cx="1752600" cy="273844"/>
          </a:xfrm>
          <a:prstGeom prst="rect">
            <a:avLst/>
          </a:prstGeom>
        </p:spPr>
        <p:txBody>
          <a:bodyPr vert="horz" lIns="91440" tIns="45720" rIns="91440" bIns="45720" rtlCol="0" anchor="ctr"/>
          <a:lstStyle>
            <a:lvl1pPr algn="r">
              <a:defRPr sz="825" b="1">
                <a:solidFill>
                  <a:schemeClr val="tx2">
                    <a:lumMod val="60000"/>
                    <a:lumOff val="40000"/>
                  </a:schemeClr>
                </a:solidFill>
              </a:defRPr>
            </a:lvl1pPr>
          </a:lstStyle>
          <a:p>
            <a:pPr rtl="0"/>
            <a:fld id="{49AC2952-3E45-40CD-80A8-86F3193A59A4}" type="slidenum">
              <a:rPr lang="en-US" kern="1200" smtClean="0">
                <a:solidFill>
                  <a:srgbClr val="3E3D2D">
                    <a:lumMod val="60000"/>
                    <a:lumOff val="40000"/>
                  </a:srgbClr>
                </a:solidFill>
              </a:rPr>
              <a:pPr rtl="0"/>
              <a:t>‹#›</a:t>
            </a:fld>
            <a:endParaRPr lang="en-US" kern="1200" dirty="0">
              <a:solidFill>
                <a:srgbClr val="3E3D2D">
                  <a:lumMod val="60000"/>
                  <a:lumOff val="40000"/>
                </a:srgbClr>
              </a:solidFill>
            </a:endParaRPr>
          </a:p>
        </p:txBody>
      </p:sp>
      <p:sp>
        <p:nvSpPr>
          <p:cNvPr id="5" name="Footer Placeholder 4"/>
          <p:cNvSpPr>
            <a:spLocks noGrp="1"/>
          </p:cNvSpPr>
          <p:nvPr>
            <p:ph type="ftr" sz="quarter" idx="3"/>
          </p:nvPr>
        </p:nvSpPr>
        <p:spPr>
          <a:xfrm>
            <a:off x="174812" y="4767267"/>
            <a:ext cx="6007100" cy="273844"/>
          </a:xfrm>
          <a:prstGeom prst="rect">
            <a:avLst/>
          </a:prstGeom>
        </p:spPr>
        <p:txBody>
          <a:bodyPr vert="horz" lIns="91440" tIns="45720" rIns="91440" bIns="45720" rtlCol="0" anchor="ctr"/>
          <a:lstStyle>
            <a:lvl1pPr algn="l">
              <a:defRPr sz="825" b="1">
                <a:solidFill>
                  <a:schemeClr val="tx2">
                    <a:lumMod val="60000"/>
                    <a:lumOff val="40000"/>
                  </a:schemeClr>
                </a:solidFill>
              </a:defRPr>
            </a:lvl1pPr>
          </a:lstStyle>
          <a:p>
            <a:pPr rtl="0"/>
            <a:endParaRPr lang="en-US" kern="1200" dirty="0">
              <a:solidFill>
                <a:srgbClr val="3E3D2D">
                  <a:lumMod val="60000"/>
                  <a:lumOff val="40000"/>
                </a:srgbClr>
              </a:solidFill>
            </a:endParaRPr>
          </a:p>
        </p:txBody>
      </p:sp>
      <p:sp>
        <p:nvSpPr>
          <p:cNvPr id="2" name="Title Placeholder 1"/>
          <p:cNvSpPr>
            <a:spLocks noGrp="1"/>
          </p:cNvSpPr>
          <p:nvPr>
            <p:ph type="title"/>
          </p:nvPr>
        </p:nvSpPr>
        <p:spPr>
          <a:xfrm>
            <a:off x="304802" y="57150"/>
            <a:ext cx="8534401" cy="857250"/>
          </a:xfrm>
          <a:prstGeom prst="rect">
            <a:avLst/>
          </a:prstGeom>
        </p:spPr>
        <p:txBody>
          <a:bodyPr vert="horz" lIns="91440" tIns="45720" rIns="91440" bIns="45720" rtlCol="0" anchor="ctr" anchorCtr="0">
            <a:noAutofit/>
          </a:bodyPr>
          <a:lstStyle/>
          <a:p>
            <a:r>
              <a:rPr lang="en-US" smtClean="0"/>
              <a:t>Click to edit Master title style</a:t>
            </a:r>
            <a:endParaRPr lang="en-US" dirty="0"/>
          </a:p>
        </p:txBody>
      </p:sp>
    </p:spTree>
    <p:extLst>
      <p:ext uri="{BB962C8B-B14F-4D97-AF65-F5344CB8AC3E}">
        <p14:creationId xmlns:p14="http://schemas.microsoft.com/office/powerpoint/2010/main" val="1874801737"/>
      </p:ext>
    </p:extLst>
  </p:cSld>
  <p:clrMap bg1="lt1" tx1="dk1" bg2="lt2" tx2="dk2" accent1="accent1" accent2="accent2" accent3="accent3" accent4="accent4" accent5="accent5" accent6="accent6" hlink="hlink" folHlink="folHlink"/>
  <p:sldLayoutIdLst>
    <p:sldLayoutId id="2147483673" r:id="rId1"/>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timing>
    <p:tnLst>
      <p:par>
        <p:cTn id="1" dur="indefinite" restart="never" nodeType="tmRoot"/>
      </p:par>
    </p:tnLst>
  </p:timing>
  <p:txStyles>
    <p:titleStyle>
      <a:lvl1pPr algn="l" defTabSz="685800" rtl="0" eaLnBrk="1" latinLnBrk="0" hangingPunct="1">
        <a:spcBef>
          <a:spcPct val="0"/>
        </a:spcBef>
        <a:buNone/>
        <a:defRPr sz="1950" b="0" kern="1200">
          <a:solidFill>
            <a:schemeClr val="tx1">
              <a:lumMod val="65000"/>
              <a:lumOff val="35000"/>
            </a:schemeClr>
          </a:solidFill>
          <a:latin typeface="+mj-lt"/>
          <a:ea typeface="+mj-ea"/>
          <a:cs typeface="+mj-cs"/>
        </a:defRPr>
      </a:lvl1pPr>
    </p:titleStyle>
    <p:bodyStyle>
      <a:lvl1pPr marL="171450" indent="-171450" algn="l" defTabSz="685800" rtl="0" eaLnBrk="1" latinLnBrk="0" hangingPunct="1">
        <a:spcBef>
          <a:spcPts val="1350"/>
        </a:spcBef>
        <a:buClr>
          <a:schemeClr val="accent1"/>
        </a:buClr>
        <a:buSzPct val="100000"/>
        <a:buFont typeface="Wingdings 2" pitchFamily="18" charset="2"/>
        <a:buChar char="¡"/>
        <a:defRPr sz="1500" kern="1200">
          <a:solidFill>
            <a:schemeClr val="tx1">
              <a:lumMod val="50000"/>
              <a:lumOff val="50000"/>
            </a:schemeClr>
          </a:solidFill>
          <a:latin typeface="Century Gothic" pitchFamily="34" charset="0"/>
          <a:ea typeface="+mn-ea"/>
          <a:cs typeface="+mn-cs"/>
        </a:defRPr>
      </a:lvl1pPr>
      <a:lvl2pPr marL="342900" indent="-171450" algn="l" defTabSz="685800" rtl="0" eaLnBrk="1" latinLnBrk="0" hangingPunct="1">
        <a:spcBef>
          <a:spcPts val="450"/>
        </a:spcBef>
        <a:buClr>
          <a:schemeClr val="accent1">
            <a:lumMod val="50000"/>
          </a:schemeClr>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2pPr>
      <a:lvl3pPr marL="514350" indent="-171450" algn="l" defTabSz="685800" rtl="0" eaLnBrk="1" latinLnBrk="0" hangingPunct="1">
        <a:spcBef>
          <a:spcPts val="450"/>
        </a:spcBef>
        <a:buClr>
          <a:schemeClr val="accent1"/>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3pPr>
      <a:lvl4pPr marL="685800" indent="-171450" algn="l" defTabSz="685800" rtl="0" eaLnBrk="1" latinLnBrk="0" hangingPunct="1">
        <a:spcBef>
          <a:spcPts val="450"/>
        </a:spcBef>
        <a:buClr>
          <a:schemeClr val="accent1">
            <a:lumMod val="50000"/>
          </a:schemeClr>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4pPr>
      <a:lvl5pPr marL="857250" indent="-171450" algn="l" defTabSz="685800" rtl="0" eaLnBrk="1" latinLnBrk="0" hangingPunct="1">
        <a:spcBef>
          <a:spcPts val="450"/>
        </a:spcBef>
        <a:buClr>
          <a:schemeClr val="accent1"/>
        </a:buClr>
        <a:buSzPct val="100000"/>
        <a:buFont typeface="Wingdings 2" pitchFamily="18" charset="2"/>
        <a:buChar char="¡"/>
        <a:defRPr sz="1350" kern="1200">
          <a:solidFill>
            <a:schemeClr val="tx1">
              <a:lumMod val="50000"/>
              <a:lumOff val="50000"/>
            </a:schemeClr>
          </a:solidFill>
          <a:latin typeface="Century Gothic" pitchFamily="34" charset="0"/>
          <a:ea typeface="+mn-ea"/>
          <a:cs typeface="+mn-cs"/>
        </a:defRPr>
      </a:lvl5pPr>
      <a:lvl6pPr marL="1033463" indent="-171450" algn="l" defTabSz="685800" rtl="0" eaLnBrk="1" latinLnBrk="0" hangingPunct="1">
        <a:spcBef>
          <a:spcPct val="20000"/>
        </a:spcBef>
        <a:buClr>
          <a:schemeClr val="accent1">
            <a:lumMod val="50000"/>
          </a:schemeClr>
        </a:buClr>
        <a:buFont typeface="Wingdings 2" pitchFamily="18" charset="2"/>
        <a:buChar char=""/>
        <a:defRPr lang="en-US" sz="1350" kern="1200" dirty="0" smtClean="0">
          <a:solidFill>
            <a:schemeClr val="tx2"/>
          </a:solidFill>
          <a:latin typeface="+mn-lt"/>
          <a:ea typeface="+mn-ea"/>
          <a:cs typeface="+mn-cs"/>
        </a:defRPr>
      </a:lvl6pPr>
      <a:lvl7pPr marL="1202531" indent="-171450" algn="l" defTabSz="685800" rtl="0" eaLnBrk="1" latinLnBrk="0" hangingPunct="1">
        <a:spcBef>
          <a:spcPct val="20000"/>
        </a:spcBef>
        <a:buClr>
          <a:schemeClr val="accent1"/>
        </a:buClr>
        <a:buFont typeface="Wingdings 2" pitchFamily="18" charset="2"/>
        <a:buChar char=""/>
        <a:defRPr lang="en-US" sz="1350" kern="1200" dirty="0" smtClean="0">
          <a:solidFill>
            <a:schemeClr val="tx2"/>
          </a:solidFill>
          <a:latin typeface="+mn-lt"/>
          <a:ea typeface="+mn-ea"/>
          <a:cs typeface="+mn-cs"/>
        </a:defRPr>
      </a:lvl7pPr>
      <a:lvl8pPr marL="1372791" indent="-171450" algn="l" defTabSz="685800" rtl="0" eaLnBrk="1" latinLnBrk="0" hangingPunct="1">
        <a:spcBef>
          <a:spcPct val="20000"/>
        </a:spcBef>
        <a:buClr>
          <a:schemeClr val="accent1">
            <a:lumMod val="50000"/>
          </a:schemeClr>
        </a:buClr>
        <a:buFont typeface="Wingdings 2" pitchFamily="18" charset="2"/>
        <a:buChar char=""/>
        <a:defRPr lang="en-US" sz="1350" kern="1200" dirty="0" smtClean="0">
          <a:solidFill>
            <a:schemeClr val="tx2"/>
          </a:solidFill>
          <a:latin typeface="+mn-lt"/>
          <a:ea typeface="+mn-ea"/>
          <a:cs typeface="+mn-cs"/>
        </a:defRPr>
      </a:lvl8pPr>
      <a:lvl9pPr marL="1543050" indent="-171450" algn="l" defTabSz="685800" rtl="0" eaLnBrk="1" latinLnBrk="0" hangingPunct="1">
        <a:spcBef>
          <a:spcPct val="20000"/>
        </a:spcBef>
        <a:buClr>
          <a:schemeClr val="accent1"/>
        </a:buClr>
        <a:buFont typeface="Wingdings 2" pitchFamily="18" charset="2"/>
        <a:buChar char=""/>
        <a:defRPr lang="en-US" sz="1350" kern="1200" dirty="0">
          <a:solidFill>
            <a:schemeClr val="tx2"/>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2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11.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28.emf"/><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image" Target="../media/image29.emf"/><Relationship Id="rId9" Type="http://schemas.openxmlformats.org/officeDocument/2006/relationships/image" Target="../media/image3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40.pn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6.png"/><Relationship Id="rId7" Type="http://schemas.openxmlformats.org/officeDocument/2006/relationships/image" Target="../media/image44.png"/><Relationship Id="rId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image" Target="../media/image43.png"/><Relationship Id="rId5" Type="http://schemas.openxmlformats.org/officeDocument/2006/relationships/image" Target="../media/image42.png"/><Relationship Id="rId10" Type="http://schemas.openxmlformats.org/officeDocument/2006/relationships/image" Target="../media/image46.png"/><Relationship Id="rId4" Type="http://schemas.openxmlformats.org/officeDocument/2006/relationships/image" Target="../media/image7.png"/><Relationship Id="rId9" Type="http://schemas.openxmlformats.org/officeDocument/2006/relationships/image" Target="../media/image1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50.png"/><Relationship Id="rId5" Type="http://schemas.openxmlformats.org/officeDocument/2006/relationships/image" Target="../media/image49.jpe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49.jpe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62.png"/><Relationship Id="rId5" Type="http://schemas.openxmlformats.org/officeDocument/2006/relationships/image" Target="../media/image63.png"/><Relationship Id="rId4" Type="http://schemas.openxmlformats.org/officeDocument/2006/relationships/image" Target="../media/image6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60.png"/><Relationship Id="rId7" Type="http://schemas.openxmlformats.org/officeDocument/2006/relationships/image" Target="../media/image62.png"/><Relationship Id="rId2" Type="http://schemas.openxmlformats.org/officeDocument/2006/relationships/notesSlide" Target="../notesSlides/notesSlide22.xml"/><Relationship Id="rId1" Type="http://schemas.openxmlformats.org/officeDocument/2006/relationships/slideLayout" Target="../slideLayouts/slideLayout3.xml"/><Relationship Id="rId6" Type="http://schemas.openxmlformats.org/officeDocument/2006/relationships/image" Target="../media/image63.png"/><Relationship Id="rId5" Type="http://schemas.openxmlformats.org/officeDocument/2006/relationships/image" Target="../media/image64.png"/><Relationship Id="rId10" Type="http://schemas.openxmlformats.org/officeDocument/2006/relationships/image" Target="../media/image65.png"/><Relationship Id="rId4" Type="http://schemas.openxmlformats.org/officeDocument/2006/relationships/image" Target="../media/image61.png"/><Relationship Id="rId9" Type="http://schemas.openxmlformats.org/officeDocument/2006/relationships/image" Target="../media/image48.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diagramData" Target="../diagrams/data3.xml"/><Relationship Id="rId2" Type="http://schemas.openxmlformats.org/officeDocument/2006/relationships/diagramData" Target="../diagrams/data1.xml"/><Relationship Id="rId16" Type="http://schemas.microsoft.com/office/2007/relationships/diagramDrawing" Target="../diagrams/drawing3.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5" Type="http://schemas.openxmlformats.org/officeDocument/2006/relationships/diagramColors" Target="../diagrams/colors3.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diagramQuickStyle" Target="../diagrams/quickStyle3.xml"/></Relationships>
</file>

<file path=ppt/slides/_rels/slide48.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image" Target="../media/image71.png"/><Relationship Id="rId4" Type="http://schemas.openxmlformats.org/officeDocument/2006/relationships/image" Target="../media/image70.png"/></Relationships>
</file>

<file path=ppt/slides/_rels/slide4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diagramData" Target="../diagrams/data5.xml"/><Relationship Id="rId3" Type="http://schemas.openxmlformats.org/officeDocument/2006/relationships/diagramData" Target="../diagrams/data4.xml"/><Relationship Id="rId7" Type="http://schemas.microsoft.com/office/2007/relationships/diagramDrawing" Target="../diagrams/drawing4.xml"/><Relationship Id="rId12" Type="http://schemas.microsoft.com/office/2007/relationships/diagramDrawing" Target="../diagrams/drawing5.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0" Type="http://schemas.openxmlformats.org/officeDocument/2006/relationships/diagramQuickStyle" Target="../diagrams/quickStyle5.xml"/><Relationship Id="rId4" Type="http://schemas.openxmlformats.org/officeDocument/2006/relationships/diagramLayout" Target="../diagrams/layout4.xml"/><Relationship Id="rId9" Type="http://schemas.openxmlformats.org/officeDocument/2006/relationships/diagramLayout" Target="../diagrams/layout5.xml"/></Relationships>
</file>

<file path=ppt/slides/_rels/slide51.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73.png"/><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5.png"/><Relationship Id="rId7" Type="http://schemas.openxmlformats.org/officeDocument/2006/relationships/image" Target="../media/image77.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6.png"/><Relationship Id="rId5" Type="http://schemas.openxmlformats.org/officeDocument/2006/relationships/image" Target="../media/image73.png"/><Relationship Id="rId4" Type="http://schemas.openxmlformats.org/officeDocument/2006/relationships/image" Target="../media/image70.png"/><Relationship Id="rId9" Type="http://schemas.openxmlformats.org/officeDocument/2006/relationships/image" Target="../media/image79.jpeg"/></Relationships>
</file>

<file path=ppt/slides/_rels/slide54.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55.xml.rels><?xml version="1.0" encoding="UTF-8" standalone="yes"?>
<Relationships xmlns="http://schemas.openxmlformats.org/package/2006/relationships"><Relationship Id="rId8" Type="http://schemas.openxmlformats.org/officeDocument/2006/relationships/diagramData" Target="../diagrams/data11.xml"/><Relationship Id="rId3" Type="http://schemas.openxmlformats.org/officeDocument/2006/relationships/diagramData" Target="../diagrams/data10.xml"/><Relationship Id="rId7" Type="http://schemas.microsoft.com/office/2007/relationships/diagramDrawing" Target="../diagrams/drawing10.xml"/><Relationship Id="rId12" Type="http://schemas.microsoft.com/office/2007/relationships/diagramDrawing" Target="../diagrams/drawing11.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10.xml"/><Relationship Id="rId11" Type="http://schemas.openxmlformats.org/officeDocument/2006/relationships/diagramColors" Target="../diagrams/colors11.xml"/><Relationship Id="rId5" Type="http://schemas.openxmlformats.org/officeDocument/2006/relationships/diagramQuickStyle" Target="../diagrams/quickStyle10.xml"/><Relationship Id="rId10" Type="http://schemas.openxmlformats.org/officeDocument/2006/relationships/diagramQuickStyle" Target="../diagrams/quickStyle11.xml"/><Relationship Id="rId4" Type="http://schemas.openxmlformats.org/officeDocument/2006/relationships/diagramLayout" Target="../diagrams/layout10.xml"/><Relationship Id="rId9" Type="http://schemas.openxmlformats.org/officeDocument/2006/relationships/diagramLayout" Target="../diagrams/layout11.xml"/></Relationships>
</file>

<file path=ppt/slides/_rels/slide56.xml.rels><?xml version="1.0" encoding="UTF-8" standalone="yes"?>
<Relationships xmlns="http://schemas.openxmlformats.org/package/2006/relationships"><Relationship Id="rId8" Type="http://schemas.openxmlformats.org/officeDocument/2006/relationships/diagramData" Target="../diagrams/data13.xml"/><Relationship Id="rId13" Type="http://schemas.openxmlformats.org/officeDocument/2006/relationships/diagramData" Target="../diagrams/data14.xml"/><Relationship Id="rId18" Type="http://schemas.openxmlformats.org/officeDocument/2006/relationships/diagramData" Target="../diagrams/data15.xml"/><Relationship Id="rId26" Type="http://schemas.openxmlformats.org/officeDocument/2006/relationships/diagramColors" Target="../diagrams/colors16.xml"/><Relationship Id="rId3" Type="http://schemas.openxmlformats.org/officeDocument/2006/relationships/diagramData" Target="../diagrams/data12.xml"/><Relationship Id="rId21" Type="http://schemas.openxmlformats.org/officeDocument/2006/relationships/diagramColors" Target="../diagrams/colors15.xml"/><Relationship Id="rId7" Type="http://schemas.microsoft.com/office/2007/relationships/diagramDrawing" Target="../diagrams/drawing12.xml"/><Relationship Id="rId12" Type="http://schemas.microsoft.com/office/2007/relationships/diagramDrawing" Target="../diagrams/drawing13.xml"/><Relationship Id="rId17" Type="http://schemas.microsoft.com/office/2007/relationships/diagramDrawing" Target="../diagrams/drawing14.xml"/><Relationship Id="rId25" Type="http://schemas.openxmlformats.org/officeDocument/2006/relationships/diagramQuickStyle" Target="../diagrams/quickStyle16.xml"/><Relationship Id="rId2" Type="http://schemas.openxmlformats.org/officeDocument/2006/relationships/notesSlide" Target="../notesSlides/notesSlide31.xml"/><Relationship Id="rId16" Type="http://schemas.openxmlformats.org/officeDocument/2006/relationships/diagramColors" Target="../diagrams/colors14.xml"/><Relationship Id="rId20" Type="http://schemas.openxmlformats.org/officeDocument/2006/relationships/diagramQuickStyle" Target="../diagrams/quickStyle15.xml"/><Relationship Id="rId1" Type="http://schemas.openxmlformats.org/officeDocument/2006/relationships/slideLayout" Target="../slideLayouts/slideLayout2.xml"/><Relationship Id="rId6" Type="http://schemas.openxmlformats.org/officeDocument/2006/relationships/diagramColors" Target="../diagrams/colors12.xml"/><Relationship Id="rId11" Type="http://schemas.openxmlformats.org/officeDocument/2006/relationships/diagramColors" Target="../diagrams/colors13.xml"/><Relationship Id="rId24" Type="http://schemas.openxmlformats.org/officeDocument/2006/relationships/diagramLayout" Target="../diagrams/layout16.xml"/><Relationship Id="rId5" Type="http://schemas.openxmlformats.org/officeDocument/2006/relationships/diagramQuickStyle" Target="../diagrams/quickStyle12.xml"/><Relationship Id="rId15" Type="http://schemas.openxmlformats.org/officeDocument/2006/relationships/diagramQuickStyle" Target="../diagrams/quickStyle14.xml"/><Relationship Id="rId23" Type="http://schemas.openxmlformats.org/officeDocument/2006/relationships/diagramData" Target="../diagrams/data16.xml"/><Relationship Id="rId10" Type="http://schemas.openxmlformats.org/officeDocument/2006/relationships/diagramQuickStyle" Target="../diagrams/quickStyle13.xml"/><Relationship Id="rId19" Type="http://schemas.openxmlformats.org/officeDocument/2006/relationships/diagramLayout" Target="../diagrams/layout15.xml"/><Relationship Id="rId4" Type="http://schemas.openxmlformats.org/officeDocument/2006/relationships/diagramLayout" Target="../diagrams/layout12.xml"/><Relationship Id="rId9" Type="http://schemas.openxmlformats.org/officeDocument/2006/relationships/diagramLayout" Target="../diagrams/layout13.xml"/><Relationship Id="rId14" Type="http://schemas.openxmlformats.org/officeDocument/2006/relationships/diagramLayout" Target="../diagrams/layout14.xml"/><Relationship Id="rId22" Type="http://schemas.microsoft.com/office/2007/relationships/diagramDrawing" Target="../diagrams/drawing15.xml"/><Relationship Id="rId27" Type="http://schemas.microsoft.com/office/2007/relationships/diagramDrawing" Target="../diagrams/drawing16.xml"/></Relationships>
</file>

<file path=ppt/slides/_rels/slide57.xml.rels><?xml version="1.0" encoding="UTF-8" standalone="yes"?>
<Relationships xmlns="http://schemas.openxmlformats.org/package/2006/relationships"><Relationship Id="rId8" Type="http://schemas.openxmlformats.org/officeDocument/2006/relationships/diagramData" Target="../diagrams/data18.xml"/><Relationship Id="rId13" Type="http://schemas.openxmlformats.org/officeDocument/2006/relationships/diagramData" Target="../diagrams/data19.xml"/><Relationship Id="rId18" Type="http://schemas.openxmlformats.org/officeDocument/2006/relationships/diagramData" Target="../diagrams/data20.xml"/><Relationship Id="rId26" Type="http://schemas.openxmlformats.org/officeDocument/2006/relationships/diagramColors" Target="../diagrams/colors21.xml"/><Relationship Id="rId39" Type="http://schemas.openxmlformats.org/officeDocument/2006/relationships/diagramLayout" Target="../diagrams/layout24.xml"/><Relationship Id="rId3" Type="http://schemas.openxmlformats.org/officeDocument/2006/relationships/diagramData" Target="../diagrams/data17.xml"/><Relationship Id="rId21" Type="http://schemas.openxmlformats.org/officeDocument/2006/relationships/diagramColors" Target="../diagrams/colors20.xml"/><Relationship Id="rId34" Type="http://schemas.openxmlformats.org/officeDocument/2006/relationships/diagramLayout" Target="../diagrams/layout23.xml"/><Relationship Id="rId42" Type="http://schemas.microsoft.com/office/2007/relationships/diagramDrawing" Target="../diagrams/drawing24.xml"/><Relationship Id="rId7" Type="http://schemas.microsoft.com/office/2007/relationships/diagramDrawing" Target="../diagrams/drawing17.xml"/><Relationship Id="rId12" Type="http://schemas.microsoft.com/office/2007/relationships/diagramDrawing" Target="../diagrams/drawing18.xml"/><Relationship Id="rId17" Type="http://schemas.microsoft.com/office/2007/relationships/diagramDrawing" Target="../diagrams/drawing19.xml"/><Relationship Id="rId25" Type="http://schemas.openxmlformats.org/officeDocument/2006/relationships/diagramQuickStyle" Target="../diagrams/quickStyle21.xml"/><Relationship Id="rId33" Type="http://schemas.openxmlformats.org/officeDocument/2006/relationships/diagramData" Target="../diagrams/data23.xml"/><Relationship Id="rId38" Type="http://schemas.openxmlformats.org/officeDocument/2006/relationships/diagramData" Target="../diagrams/data24.xml"/><Relationship Id="rId2" Type="http://schemas.openxmlformats.org/officeDocument/2006/relationships/notesSlide" Target="../notesSlides/notesSlide32.xml"/><Relationship Id="rId16" Type="http://schemas.openxmlformats.org/officeDocument/2006/relationships/diagramColors" Target="../diagrams/colors19.xml"/><Relationship Id="rId20" Type="http://schemas.openxmlformats.org/officeDocument/2006/relationships/diagramQuickStyle" Target="../diagrams/quickStyle20.xml"/><Relationship Id="rId29" Type="http://schemas.openxmlformats.org/officeDocument/2006/relationships/diagramLayout" Target="../diagrams/layout22.xml"/><Relationship Id="rId41" Type="http://schemas.openxmlformats.org/officeDocument/2006/relationships/diagramColors" Target="../diagrams/colors24.xml"/><Relationship Id="rId1" Type="http://schemas.openxmlformats.org/officeDocument/2006/relationships/slideLayout" Target="../slideLayouts/slideLayout2.xml"/><Relationship Id="rId6" Type="http://schemas.openxmlformats.org/officeDocument/2006/relationships/diagramColors" Target="../diagrams/colors17.xml"/><Relationship Id="rId11" Type="http://schemas.openxmlformats.org/officeDocument/2006/relationships/diagramColors" Target="../diagrams/colors18.xml"/><Relationship Id="rId24" Type="http://schemas.openxmlformats.org/officeDocument/2006/relationships/diagramLayout" Target="../diagrams/layout21.xml"/><Relationship Id="rId32" Type="http://schemas.microsoft.com/office/2007/relationships/diagramDrawing" Target="../diagrams/drawing22.xml"/><Relationship Id="rId37" Type="http://schemas.microsoft.com/office/2007/relationships/diagramDrawing" Target="../diagrams/drawing23.xml"/><Relationship Id="rId40" Type="http://schemas.openxmlformats.org/officeDocument/2006/relationships/diagramQuickStyle" Target="../diagrams/quickStyle24.xml"/><Relationship Id="rId5" Type="http://schemas.openxmlformats.org/officeDocument/2006/relationships/diagramQuickStyle" Target="../diagrams/quickStyle17.xml"/><Relationship Id="rId15" Type="http://schemas.openxmlformats.org/officeDocument/2006/relationships/diagramQuickStyle" Target="../diagrams/quickStyle19.xml"/><Relationship Id="rId23" Type="http://schemas.openxmlformats.org/officeDocument/2006/relationships/diagramData" Target="../diagrams/data21.xml"/><Relationship Id="rId28" Type="http://schemas.openxmlformats.org/officeDocument/2006/relationships/diagramData" Target="../diagrams/data22.xml"/><Relationship Id="rId36" Type="http://schemas.openxmlformats.org/officeDocument/2006/relationships/diagramColors" Target="../diagrams/colors23.xml"/><Relationship Id="rId10" Type="http://schemas.openxmlformats.org/officeDocument/2006/relationships/diagramQuickStyle" Target="../diagrams/quickStyle18.xml"/><Relationship Id="rId19" Type="http://schemas.openxmlformats.org/officeDocument/2006/relationships/diagramLayout" Target="../diagrams/layout20.xml"/><Relationship Id="rId31" Type="http://schemas.openxmlformats.org/officeDocument/2006/relationships/diagramColors" Target="../diagrams/colors22.xml"/><Relationship Id="rId4" Type="http://schemas.openxmlformats.org/officeDocument/2006/relationships/diagramLayout" Target="../diagrams/layout17.xml"/><Relationship Id="rId9" Type="http://schemas.openxmlformats.org/officeDocument/2006/relationships/diagramLayout" Target="../diagrams/layout18.xml"/><Relationship Id="rId14" Type="http://schemas.openxmlformats.org/officeDocument/2006/relationships/diagramLayout" Target="../diagrams/layout19.xml"/><Relationship Id="rId22" Type="http://schemas.microsoft.com/office/2007/relationships/diagramDrawing" Target="../diagrams/drawing20.xml"/><Relationship Id="rId27" Type="http://schemas.microsoft.com/office/2007/relationships/diagramDrawing" Target="../diagrams/drawing21.xml"/><Relationship Id="rId30" Type="http://schemas.openxmlformats.org/officeDocument/2006/relationships/diagramQuickStyle" Target="../diagrams/quickStyle22.xml"/><Relationship Id="rId35" Type="http://schemas.openxmlformats.org/officeDocument/2006/relationships/diagramQuickStyle" Target="../diagrams/quickStyle23.xml"/></Relationships>
</file>

<file path=ppt/slides/_rels/slide58.xml.rels><?xml version="1.0" encoding="UTF-8" standalone="yes"?>
<Relationships xmlns="http://schemas.openxmlformats.org/package/2006/relationships"><Relationship Id="rId8" Type="http://schemas.openxmlformats.org/officeDocument/2006/relationships/diagramLayout" Target="../diagrams/layout26.xml"/><Relationship Id="rId13" Type="http://schemas.openxmlformats.org/officeDocument/2006/relationships/diagramLayout" Target="../diagrams/layout27.xml"/><Relationship Id="rId3" Type="http://schemas.openxmlformats.org/officeDocument/2006/relationships/diagramLayout" Target="../diagrams/layout25.xml"/><Relationship Id="rId7" Type="http://schemas.openxmlformats.org/officeDocument/2006/relationships/diagramData" Target="../diagrams/data26.xml"/><Relationship Id="rId12" Type="http://schemas.openxmlformats.org/officeDocument/2006/relationships/diagramData" Target="../diagrams/data27.xml"/><Relationship Id="rId2" Type="http://schemas.openxmlformats.org/officeDocument/2006/relationships/diagramData" Target="../diagrams/data25.xml"/><Relationship Id="rId16" Type="http://schemas.microsoft.com/office/2007/relationships/diagramDrawing" Target="../diagrams/drawing27.xml"/><Relationship Id="rId1" Type="http://schemas.openxmlformats.org/officeDocument/2006/relationships/slideLayout" Target="../slideLayouts/slideLayout2.xml"/><Relationship Id="rId6" Type="http://schemas.microsoft.com/office/2007/relationships/diagramDrawing" Target="../diagrams/drawing25.xml"/><Relationship Id="rId11" Type="http://schemas.microsoft.com/office/2007/relationships/diagramDrawing" Target="../diagrams/drawing26.xml"/><Relationship Id="rId5" Type="http://schemas.openxmlformats.org/officeDocument/2006/relationships/diagramColors" Target="../diagrams/colors25.xml"/><Relationship Id="rId15" Type="http://schemas.openxmlformats.org/officeDocument/2006/relationships/diagramColors" Target="../diagrams/colors27.xml"/><Relationship Id="rId10" Type="http://schemas.openxmlformats.org/officeDocument/2006/relationships/diagramColors" Target="../diagrams/colors26.xml"/><Relationship Id="rId4" Type="http://schemas.openxmlformats.org/officeDocument/2006/relationships/diagramQuickStyle" Target="../diagrams/quickStyle25.xml"/><Relationship Id="rId9" Type="http://schemas.openxmlformats.org/officeDocument/2006/relationships/diagramQuickStyle" Target="../diagrams/quickStyle26.xml"/><Relationship Id="rId14" Type="http://schemas.openxmlformats.org/officeDocument/2006/relationships/diagramQuickStyle" Target="../diagrams/quickStyle27.xml"/></Relationships>
</file>

<file path=ppt/slides/_rels/slide59.xml.rels><?xml version="1.0" encoding="UTF-8" standalone="yes"?>
<Relationships xmlns="http://schemas.openxmlformats.org/package/2006/relationships"><Relationship Id="rId8" Type="http://schemas.openxmlformats.org/officeDocument/2006/relationships/diagramLayout" Target="../diagrams/layout29.xml"/><Relationship Id="rId13" Type="http://schemas.openxmlformats.org/officeDocument/2006/relationships/diagramLayout" Target="../diagrams/layout30.xml"/><Relationship Id="rId3" Type="http://schemas.openxmlformats.org/officeDocument/2006/relationships/diagramLayout" Target="../diagrams/layout28.xml"/><Relationship Id="rId7" Type="http://schemas.openxmlformats.org/officeDocument/2006/relationships/diagramData" Target="../diagrams/data29.xml"/><Relationship Id="rId12" Type="http://schemas.openxmlformats.org/officeDocument/2006/relationships/diagramData" Target="../diagrams/data30.xml"/><Relationship Id="rId2" Type="http://schemas.openxmlformats.org/officeDocument/2006/relationships/diagramData" Target="../diagrams/data28.xml"/><Relationship Id="rId16" Type="http://schemas.microsoft.com/office/2007/relationships/diagramDrawing" Target="../diagrams/drawing30.xml"/><Relationship Id="rId1" Type="http://schemas.openxmlformats.org/officeDocument/2006/relationships/slideLayout" Target="../slideLayouts/slideLayout2.xml"/><Relationship Id="rId6" Type="http://schemas.microsoft.com/office/2007/relationships/diagramDrawing" Target="../diagrams/drawing28.xml"/><Relationship Id="rId11" Type="http://schemas.microsoft.com/office/2007/relationships/diagramDrawing" Target="../diagrams/drawing29.xml"/><Relationship Id="rId5" Type="http://schemas.openxmlformats.org/officeDocument/2006/relationships/diagramColors" Target="../diagrams/colors28.xml"/><Relationship Id="rId15" Type="http://schemas.openxmlformats.org/officeDocument/2006/relationships/diagramColors" Target="../diagrams/colors30.xml"/><Relationship Id="rId10" Type="http://schemas.openxmlformats.org/officeDocument/2006/relationships/diagramColors" Target="../diagrams/colors29.xml"/><Relationship Id="rId4" Type="http://schemas.openxmlformats.org/officeDocument/2006/relationships/diagramQuickStyle" Target="../diagrams/quickStyle28.xml"/><Relationship Id="rId9" Type="http://schemas.openxmlformats.org/officeDocument/2006/relationships/diagramQuickStyle" Target="../diagrams/quickStyle29.xml"/><Relationship Id="rId14" Type="http://schemas.openxmlformats.org/officeDocument/2006/relationships/diagramQuickStyle" Target="../diagrams/quickStyle30.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0.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slideLayout" Target="../slideLayouts/slideLayout2.xml"/><Relationship Id="rId7" Type="http://schemas.openxmlformats.org/officeDocument/2006/relationships/image" Target="../media/image8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3.emf"/><Relationship Id="rId5" Type="http://schemas.openxmlformats.org/officeDocument/2006/relationships/oleObject" Target="../embeddings/oleObject1.bin"/><Relationship Id="rId4" Type="http://schemas.openxmlformats.org/officeDocument/2006/relationships/notesSlide" Target="../notesSlides/notesSlide33.xml"/></Relationships>
</file>

<file path=ppt/slides/_rels/slide64.xml.rels><?xml version="1.0" encoding="UTF-8" standalone="yes"?>
<Relationships xmlns="http://schemas.openxmlformats.org/package/2006/relationships"><Relationship Id="rId8" Type="http://schemas.openxmlformats.org/officeDocument/2006/relationships/hyperlink" Target="https://www.google.com/trends/explore" TargetMode="External"/><Relationship Id="rId3" Type="http://schemas.openxmlformats.org/officeDocument/2006/relationships/slideLayout" Target="../slideLayouts/slideLayout2.xml"/><Relationship Id="rId7" Type="http://schemas.openxmlformats.org/officeDocument/2006/relationships/image" Target="../media/image8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3.emf"/><Relationship Id="rId11" Type="http://schemas.openxmlformats.org/officeDocument/2006/relationships/image" Target="../media/image87.png"/><Relationship Id="rId5" Type="http://schemas.openxmlformats.org/officeDocument/2006/relationships/oleObject" Target="../embeddings/oleObject2.bin"/><Relationship Id="rId10" Type="http://schemas.openxmlformats.org/officeDocument/2006/relationships/image" Target="../media/image86.png"/><Relationship Id="rId4" Type="http://schemas.openxmlformats.org/officeDocument/2006/relationships/notesSlide" Target="../notesSlides/notesSlide34.xml"/><Relationship Id="rId9" Type="http://schemas.openxmlformats.org/officeDocument/2006/relationships/hyperlink" Target="http://www.indeed.com/jobanalytics/jobtrends?q=apache+spark&amp;l" TargetMode="External"/></Relationships>
</file>

<file path=ppt/slides/_rels/slide65.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4.xml"/><Relationship Id="rId7" Type="http://schemas.openxmlformats.org/officeDocument/2006/relationships/notesSlide" Target="../notesSlides/notesSlide3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slideLayout" Target="../slideLayouts/slideLayout2.xml"/><Relationship Id="rId5" Type="http://schemas.openxmlformats.org/officeDocument/2006/relationships/tags" Target="../tags/tag6.xml"/><Relationship Id="rId4" Type="http://schemas.openxmlformats.org/officeDocument/2006/relationships/tags" Target="../tags/tag5.xml"/><Relationship Id="rId9" Type="http://schemas.openxmlformats.org/officeDocument/2006/relationships/image" Target="../media/image83.emf"/></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83.emf"/><Relationship Id="rId5" Type="http://schemas.openxmlformats.org/officeDocument/2006/relationships/oleObject" Target="../embeddings/oleObject4.bin"/><Relationship Id="rId4" Type="http://schemas.openxmlformats.org/officeDocument/2006/relationships/notesSlide" Target="../notesSlides/notesSlide36.xml"/></Relationships>
</file>

<file path=ppt/slides/_rels/slide6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2.xml"/><Relationship Id="rId4" Type="http://schemas.openxmlformats.org/officeDocument/2006/relationships/hyperlink" Target="http://ibm.com/spark" TargetMode="External"/></Relationships>
</file>

<file path=ppt/slides/_rels/slide69.xml.rels><?xml version="1.0" encoding="UTF-8" standalone="yes"?>
<Relationships xmlns="http://schemas.openxmlformats.org/package/2006/relationships"><Relationship Id="rId3" Type="http://schemas.openxmlformats.org/officeDocument/2006/relationships/hyperlink" Target="http://bigdatauniversity.com/bdu-wp/bdu-course/spark-fundamentals/" TargetMode="External"/><Relationship Id="rId2" Type="http://schemas.openxmlformats.org/officeDocument/2006/relationships/hyperlink" Target="http://www.ibmbigdatahub.com/" TargetMode="External"/><Relationship Id="rId1" Type="http://schemas.openxmlformats.org/officeDocument/2006/relationships/slideLayout" Target="../slideLayouts/slideLayout2.xml"/><Relationship Id="rId6" Type="http://schemas.openxmlformats.org/officeDocument/2006/relationships/hyperlink" Target="http://www.spark.tc/" TargetMode="External"/><Relationship Id="rId5" Type="http://schemas.openxmlformats.org/officeDocument/2006/relationships/hyperlink" Target="../../../Documents/2015%20IBM%20Analytics/02%20-%20Events/06%20-%20Jun%2015%20-%20Spark%20Sigmo/Seller%20Viewing%20Parties/IBM.com/Hadoop" TargetMode="External"/><Relationship Id="rId4" Type="http://schemas.openxmlformats.org/officeDocument/2006/relationships/hyperlink" Target="http://ibm.com/spark"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hape 25"/>
          <p:cNvSpPr/>
          <p:nvPr/>
        </p:nvSpPr>
        <p:spPr>
          <a:xfrm>
            <a:off x="279946" y="1995964"/>
            <a:ext cx="8523393" cy="118186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lnSpc>
                <a:spcPct val="80000"/>
              </a:lnSpc>
            </a:pPr>
            <a:r>
              <a:rPr lang="en-US" sz="6000" b="1" dirty="0" smtClean="0">
                <a:solidFill>
                  <a:srgbClr val="FFFFFF"/>
                </a:solidFill>
              </a:rPr>
              <a:t>Put data to work</a:t>
            </a:r>
          </a:p>
          <a:p>
            <a:pPr lvl="0">
              <a:lnSpc>
                <a:spcPct val="80000"/>
              </a:lnSpc>
            </a:pPr>
            <a:r>
              <a:rPr lang="en-US" sz="3600" b="1" dirty="0">
                <a:solidFill>
                  <a:srgbClr val="FFFFFF"/>
                </a:solidFill>
              </a:rPr>
              <a:t>w</a:t>
            </a:r>
            <a:r>
              <a:rPr lang="en-US" sz="3600" b="1" dirty="0" smtClean="0">
                <a:solidFill>
                  <a:srgbClr val="FFFFFF"/>
                </a:solidFill>
              </a:rPr>
              <a:t>ith advanced analytics on Cloud</a:t>
            </a:r>
            <a:endParaRPr sz="3600" b="1" spc="0" dirty="0">
              <a:solidFill>
                <a:srgbClr val="FFFFFF"/>
              </a:solidFill>
            </a:endParaRPr>
          </a:p>
        </p:txBody>
      </p:sp>
      <p:sp>
        <p:nvSpPr>
          <p:cNvPr id="6" name="Shape 26"/>
          <p:cNvSpPr/>
          <p:nvPr/>
        </p:nvSpPr>
        <p:spPr>
          <a:xfrm>
            <a:off x="279946" y="1527061"/>
            <a:ext cx="4474409"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lvl="0">
              <a:defRPr sz="1800" spc="0">
                <a:solidFill>
                  <a:srgbClr val="000000"/>
                </a:solidFill>
              </a:defRPr>
            </a:pPr>
            <a:r>
              <a:rPr lang="en-US" sz="2400" spc="44" dirty="0" smtClean="0">
                <a:solidFill>
                  <a:srgbClr val="CEE8F9"/>
                </a:solidFill>
              </a:rPr>
              <a:t>IBM Cloud Data Services</a:t>
            </a:r>
            <a:endParaRPr sz="2400" spc="44" dirty="0">
              <a:solidFill>
                <a:srgbClr val="CEE8F9"/>
              </a:solidFill>
            </a:endParaRPr>
          </a:p>
        </p:txBody>
      </p:sp>
    </p:spTree>
    <p:extLst>
      <p:ext uri="{BB962C8B-B14F-4D97-AF65-F5344CB8AC3E}">
        <p14:creationId xmlns:p14="http://schemas.microsoft.com/office/powerpoint/2010/main" val="2068757506"/>
      </p:ext>
    </p:extLst>
  </p:cSld>
  <p:clrMapOvr>
    <a:masterClrMapping/>
  </p:clrMapOvr>
  <p:transition spd="med"/>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0572" y="366543"/>
            <a:ext cx="2006345" cy="415529"/>
          </a:xfrm>
        </p:spPr>
        <p:txBody>
          <a:bodyPr/>
          <a:lstStyle/>
          <a:p>
            <a:pPr lvl="0"/>
            <a:r>
              <a:rPr lang="en-US" dirty="0">
                <a:solidFill>
                  <a:srgbClr val="000202"/>
                </a:solidFill>
              </a:rPr>
              <a:t>IBM </a:t>
            </a:r>
            <a:r>
              <a:rPr lang="en-US" dirty="0" smtClean="0">
                <a:solidFill>
                  <a:srgbClr val="000202"/>
                </a:solidFill>
              </a:rPr>
              <a:t>Bluemix</a:t>
            </a:r>
            <a:endParaRPr lang="en-US" dirty="0"/>
          </a:p>
        </p:txBody>
      </p:sp>
      <p:sp>
        <p:nvSpPr>
          <p:cNvPr id="114" name="Shape 114"/>
          <p:cNvSpPr>
            <a:spLocks noGrp="1"/>
          </p:cNvSpPr>
          <p:nvPr>
            <p:ph idx="1"/>
          </p:nvPr>
        </p:nvSpPr>
        <p:spPr>
          <a:xfrm>
            <a:off x="266700" y="972743"/>
            <a:ext cx="8542338" cy="853725"/>
          </a:xfrm>
          <a:prstGeom prst="rect">
            <a:avLst/>
          </a:prstGeom>
        </p:spPr>
        <p:txBody>
          <a:bodyPr>
            <a:normAutofit/>
          </a:bodyPr>
          <a:lstStyle>
            <a:lvl1pPr marL="0" indent="0">
              <a:spcBef>
                <a:spcPts val="400"/>
              </a:spcBef>
              <a:buSzTx/>
              <a:buNone/>
            </a:lvl1pPr>
          </a:lstStyle>
          <a:p>
            <a:pPr lvl="0">
              <a:defRPr sz="1800"/>
            </a:pPr>
            <a:r>
              <a:rPr lang="en-US" sz="1600" dirty="0" smtClean="0"/>
              <a:t>Bluemix</a:t>
            </a:r>
            <a:r>
              <a:rPr sz="1600" dirty="0" smtClean="0"/>
              <a:t> </a:t>
            </a:r>
            <a:r>
              <a:rPr sz="1600" dirty="0"/>
              <a:t>is an open-standard, cloud-based platform for building, managing, and running applications of all types (web, mobile, big data, new smart devices, and so on).</a:t>
            </a:r>
          </a:p>
        </p:txBody>
      </p:sp>
      <p:sp>
        <p:nvSpPr>
          <p:cNvPr id="115" name="Shape 115"/>
          <p:cNvSpPr/>
          <p:nvPr/>
        </p:nvSpPr>
        <p:spPr>
          <a:xfrm>
            <a:off x="1334048" y="2671690"/>
            <a:ext cx="1945258" cy="110799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Go Live in Seconds</a:t>
            </a:r>
            <a:endParaRPr sz="1200" dirty="0">
              <a:solidFill>
                <a:srgbClr val="323333"/>
              </a:solidFill>
            </a:endParaRPr>
          </a:p>
          <a:p>
            <a:pPr lvl="0" defTabSz="321457"/>
            <a:r>
              <a:rPr sz="1200" dirty="0">
                <a:solidFill>
                  <a:srgbClr val="323333"/>
                </a:solidFill>
              </a:rPr>
              <a:t>The developer can choose any language runtime or bring their own. Zero to production in one command.</a:t>
            </a:r>
          </a:p>
        </p:txBody>
      </p:sp>
      <p:sp>
        <p:nvSpPr>
          <p:cNvPr id="116" name="Shape 116"/>
          <p:cNvSpPr/>
          <p:nvPr/>
        </p:nvSpPr>
        <p:spPr>
          <a:xfrm>
            <a:off x="3650532" y="3830407"/>
            <a:ext cx="1945257"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DevOps</a:t>
            </a:r>
            <a:endParaRPr sz="1200" dirty="0">
              <a:solidFill>
                <a:srgbClr val="323333"/>
              </a:solidFill>
            </a:endParaRPr>
          </a:p>
          <a:p>
            <a:pPr lvl="0" defTabSz="321457"/>
            <a:r>
              <a:rPr sz="1200" dirty="0">
                <a:solidFill>
                  <a:srgbClr val="323333"/>
                </a:solidFill>
              </a:rPr>
              <a:t>Development, monitoring, deployment, and logging tools allow the developer to run the entire application.</a:t>
            </a:r>
          </a:p>
        </p:txBody>
      </p:sp>
      <p:sp>
        <p:nvSpPr>
          <p:cNvPr id="117" name="Shape 117"/>
          <p:cNvSpPr/>
          <p:nvPr/>
        </p:nvSpPr>
        <p:spPr>
          <a:xfrm>
            <a:off x="5990087" y="3604149"/>
            <a:ext cx="1945258" cy="1107996"/>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APIs and Services</a:t>
            </a:r>
            <a:endParaRPr sz="1200" dirty="0">
              <a:solidFill>
                <a:srgbClr val="323333"/>
              </a:solidFill>
            </a:endParaRPr>
          </a:p>
          <a:p>
            <a:pPr lvl="0" defTabSz="321457"/>
            <a:r>
              <a:rPr sz="1200" dirty="0">
                <a:solidFill>
                  <a:srgbClr val="323333"/>
                </a:solidFill>
              </a:rPr>
              <a:t>A catalog of IBM, third party, and open source API services allow the developer to stitch an application together in minutes.</a:t>
            </a:r>
          </a:p>
        </p:txBody>
      </p:sp>
      <p:sp>
        <p:nvSpPr>
          <p:cNvPr id="118" name="Shape 118"/>
          <p:cNvSpPr/>
          <p:nvPr/>
        </p:nvSpPr>
        <p:spPr>
          <a:xfrm>
            <a:off x="3650528" y="2680818"/>
            <a:ext cx="1945259"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On-Prem Integration</a:t>
            </a:r>
            <a:endParaRPr sz="1200" dirty="0">
              <a:solidFill>
                <a:srgbClr val="323333"/>
              </a:solidFill>
            </a:endParaRPr>
          </a:p>
          <a:p>
            <a:pPr lvl="0" defTabSz="321457"/>
            <a:r>
              <a:rPr sz="1200" dirty="0">
                <a:solidFill>
                  <a:srgbClr val="323333"/>
                </a:solidFill>
              </a:rPr>
              <a:t>Build hybrid environments. Connect to on-premise assets plus other public and private clouds.</a:t>
            </a:r>
          </a:p>
        </p:txBody>
      </p:sp>
      <p:sp>
        <p:nvSpPr>
          <p:cNvPr id="119" name="Shape 119"/>
          <p:cNvSpPr/>
          <p:nvPr/>
        </p:nvSpPr>
        <p:spPr>
          <a:xfrm>
            <a:off x="5967008" y="2699306"/>
            <a:ext cx="2177074" cy="738664"/>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Flexible Pricing </a:t>
            </a:r>
            <a:endParaRPr sz="1200" dirty="0">
              <a:solidFill>
                <a:srgbClr val="323333"/>
              </a:solidFill>
            </a:endParaRPr>
          </a:p>
          <a:p>
            <a:pPr lvl="0" defTabSz="321457"/>
            <a:r>
              <a:rPr sz="1200" dirty="0">
                <a:solidFill>
                  <a:srgbClr val="323333"/>
                </a:solidFill>
              </a:rPr>
              <a:t>Sign up in minutes. Pay as you go and subscription models offer choice and flexibility.</a:t>
            </a:r>
          </a:p>
        </p:txBody>
      </p:sp>
      <p:sp>
        <p:nvSpPr>
          <p:cNvPr id="120" name="Shape 120"/>
          <p:cNvSpPr/>
          <p:nvPr/>
        </p:nvSpPr>
        <p:spPr>
          <a:xfrm>
            <a:off x="1310971" y="3822445"/>
            <a:ext cx="1945259" cy="92333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lvl="0" defTabSz="321457"/>
            <a:r>
              <a:rPr sz="1200" b="1" dirty="0">
                <a:solidFill>
                  <a:srgbClr val="323333"/>
                </a:solidFill>
              </a:rPr>
              <a:t>Layered Security</a:t>
            </a:r>
            <a:endParaRPr sz="1200" dirty="0">
              <a:solidFill>
                <a:srgbClr val="323333"/>
              </a:solidFill>
            </a:endParaRPr>
          </a:p>
          <a:p>
            <a:pPr lvl="0" defTabSz="321457"/>
            <a:r>
              <a:rPr sz="1200" dirty="0">
                <a:solidFill>
                  <a:srgbClr val="323333"/>
                </a:solidFill>
              </a:rPr>
              <a:t>IBM secures the platform and infrastructure and provides you with the tools to secure your apps.</a:t>
            </a:r>
          </a:p>
        </p:txBody>
      </p:sp>
      <p:grpSp>
        <p:nvGrpSpPr>
          <p:cNvPr id="154" name="Group 154"/>
          <p:cNvGrpSpPr/>
          <p:nvPr/>
        </p:nvGrpSpPr>
        <p:grpSpPr>
          <a:xfrm>
            <a:off x="843097" y="1917901"/>
            <a:ext cx="7082998" cy="460886"/>
            <a:chOff x="0" y="0"/>
            <a:chExt cx="7624337" cy="614512"/>
          </a:xfrm>
        </p:grpSpPr>
        <p:grpSp>
          <p:nvGrpSpPr>
            <p:cNvPr id="123" name="Group 123"/>
            <p:cNvGrpSpPr/>
            <p:nvPr/>
          </p:nvGrpSpPr>
          <p:grpSpPr>
            <a:xfrm>
              <a:off x="0" y="10722"/>
              <a:ext cx="674282" cy="597222"/>
              <a:chOff x="0" y="0"/>
              <a:chExt cx="674281" cy="597221"/>
            </a:xfrm>
          </p:grpSpPr>
          <p:pic>
            <p:nvPicPr>
              <p:cNvPr id="121" name="image15.png" descr="cloudant64"/>
              <p:cNvPicPr/>
              <p:nvPr/>
            </p:nvPicPr>
            <p:blipFill>
              <a:blip r:embed="rId2" cstate="screen">
                <a:extLst>
                  <a:ext uri="{28A0092B-C50C-407E-A947-70E740481C1C}">
                    <a14:useLocalDpi xmlns:a14="http://schemas.microsoft.com/office/drawing/2010/main"/>
                  </a:ext>
                </a:extLst>
              </a:blip>
              <a:stretch>
                <a:fillRect/>
              </a:stretch>
            </p:blipFill>
            <p:spPr>
              <a:xfrm>
                <a:off x="152003" y="113865"/>
                <a:ext cx="370276" cy="369491"/>
              </a:xfrm>
              <a:prstGeom prst="rect">
                <a:avLst/>
              </a:prstGeom>
              <a:ln w="12700" cap="flat">
                <a:noFill/>
                <a:miter lim="400000"/>
              </a:ln>
              <a:effectLst/>
            </p:spPr>
          </p:pic>
          <p:pic>
            <p:nvPicPr>
              <p:cNvPr id="122"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26" name="Group 126"/>
            <p:cNvGrpSpPr/>
            <p:nvPr/>
          </p:nvGrpSpPr>
          <p:grpSpPr>
            <a:xfrm>
              <a:off x="695005" y="16048"/>
              <a:ext cx="674283" cy="597223"/>
              <a:chOff x="0" y="0"/>
              <a:chExt cx="674281" cy="597221"/>
            </a:xfrm>
          </p:grpSpPr>
          <p:pic>
            <p:nvPicPr>
              <p:cNvPr id="124" name="image17.png" descr="api_management64"/>
              <p:cNvPicPr/>
              <p:nvPr/>
            </p:nvPicPr>
            <p:blipFill>
              <a:blip r:embed="rId4" cstate="screen">
                <a:extLst>
                  <a:ext uri="{28A0092B-C50C-407E-A947-70E740481C1C}">
                    <a14:useLocalDpi xmlns:a14="http://schemas.microsoft.com/office/drawing/2010/main"/>
                  </a:ext>
                </a:extLst>
              </a:blip>
              <a:stretch>
                <a:fillRect/>
              </a:stretch>
            </p:blipFill>
            <p:spPr>
              <a:xfrm>
                <a:off x="159126" y="108539"/>
                <a:ext cx="369461" cy="369490"/>
              </a:xfrm>
              <a:prstGeom prst="rect">
                <a:avLst/>
              </a:prstGeom>
              <a:ln w="12700" cap="flat">
                <a:noFill/>
                <a:miter lim="400000"/>
              </a:ln>
              <a:effectLst/>
            </p:spPr>
          </p:pic>
          <p:pic>
            <p:nvPicPr>
              <p:cNvPr id="125"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29" name="Group 129"/>
            <p:cNvGrpSpPr/>
            <p:nvPr/>
          </p:nvGrpSpPr>
          <p:grpSpPr>
            <a:xfrm>
              <a:off x="1390011" y="17291"/>
              <a:ext cx="674282" cy="597222"/>
              <a:chOff x="0" y="0"/>
              <a:chExt cx="674281" cy="597221"/>
            </a:xfrm>
          </p:grpSpPr>
          <p:pic>
            <p:nvPicPr>
              <p:cNvPr id="127" name="image18.png" descr="Push64"/>
              <p:cNvPicPr/>
              <p:nvPr/>
            </p:nvPicPr>
            <p:blipFill>
              <a:blip r:embed="rId5" cstate="screen">
                <a:extLst>
                  <a:ext uri="{28A0092B-C50C-407E-A947-70E740481C1C}">
                    <a14:useLocalDpi xmlns:a14="http://schemas.microsoft.com/office/drawing/2010/main"/>
                  </a:ext>
                </a:extLst>
              </a:blip>
              <a:stretch>
                <a:fillRect/>
              </a:stretch>
            </p:blipFill>
            <p:spPr>
              <a:xfrm>
                <a:off x="144986" y="104213"/>
                <a:ext cx="370274" cy="369490"/>
              </a:xfrm>
              <a:prstGeom prst="rect">
                <a:avLst/>
              </a:prstGeom>
              <a:ln w="12700" cap="flat">
                <a:noFill/>
                <a:miter lim="400000"/>
              </a:ln>
              <a:effectLst/>
            </p:spPr>
          </p:pic>
          <p:pic>
            <p:nvPicPr>
              <p:cNvPr id="128"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32" name="Group 132"/>
            <p:cNvGrpSpPr/>
            <p:nvPr/>
          </p:nvGrpSpPr>
          <p:grpSpPr>
            <a:xfrm>
              <a:off x="2085016" y="10722"/>
              <a:ext cx="674283" cy="597222"/>
              <a:chOff x="0" y="0"/>
              <a:chExt cx="674281" cy="597221"/>
            </a:xfrm>
          </p:grpSpPr>
          <p:pic>
            <p:nvPicPr>
              <p:cNvPr id="130" name="image19.png" descr="mqa_64"/>
              <p:cNvPicPr/>
              <p:nvPr/>
            </p:nvPicPr>
            <p:blipFill>
              <a:blip r:embed="rId6" cstate="screen">
                <a:extLst>
                  <a:ext uri="{28A0092B-C50C-407E-A947-70E740481C1C}">
                    <a14:useLocalDpi xmlns:a14="http://schemas.microsoft.com/office/drawing/2010/main"/>
                  </a:ext>
                </a:extLst>
              </a:blip>
              <a:stretch>
                <a:fillRect/>
              </a:stretch>
            </p:blipFill>
            <p:spPr>
              <a:xfrm>
                <a:off x="152661" y="129344"/>
                <a:ext cx="370275" cy="370414"/>
              </a:xfrm>
              <a:prstGeom prst="rect">
                <a:avLst/>
              </a:prstGeom>
              <a:ln w="12700" cap="flat">
                <a:noFill/>
                <a:miter lim="400000"/>
              </a:ln>
              <a:effectLst/>
            </p:spPr>
          </p:pic>
          <p:pic>
            <p:nvPicPr>
              <p:cNvPr id="131"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35" name="Group 135"/>
            <p:cNvGrpSpPr/>
            <p:nvPr/>
          </p:nvGrpSpPr>
          <p:grpSpPr>
            <a:xfrm>
              <a:off x="2780021" y="10722"/>
              <a:ext cx="674283" cy="597222"/>
              <a:chOff x="0" y="0"/>
              <a:chExt cx="674281" cy="597221"/>
            </a:xfrm>
          </p:grpSpPr>
          <p:pic>
            <p:nvPicPr>
              <p:cNvPr id="133" name="image20.png" descr="twilio64"/>
              <p:cNvPicPr/>
              <p:nvPr/>
            </p:nvPicPr>
            <p:blipFill>
              <a:blip r:embed="rId7" cstate="screen">
                <a:extLst>
                  <a:ext uri="{28A0092B-C50C-407E-A947-70E740481C1C}">
                    <a14:useLocalDpi xmlns:a14="http://schemas.microsoft.com/office/drawing/2010/main"/>
                  </a:ext>
                </a:extLst>
              </a:blip>
              <a:stretch>
                <a:fillRect/>
              </a:stretch>
            </p:blipFill>
            <p:spPr>
              <a:xfrm>
                <a:off x="145292" y="110807"/>
                <a:ext cx="369790" cy="369588"/>
              </a:xfrm>
              <a:prstGeom prst="rect">
                <a:avLst/>
              </a:prstGeom>
              <a:ln w="12700" cap="flat">
                <a:noFill/>
                <a:miter lim="400000"/>
              </a:ln>
              <a:effectLst/>
            </p:spPr>
          </p:pic>
          <p:pic>
            <p:nvPicPr>
              <p:cNvPr id="134" name="image21.png"/>
              <p:cNvPicPr/>
              <p:nvPr/>
            </p:nvPicPr>
            <p:blipFill>
              <a:blip r:embed="rId8"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38" name="Group 138"/>
            <p:cNvGrpSpPr/>
            <p:nvPr/>
          </p:nvGrpSpPr>
          <p:grpSpPr>
            <a:xfrm>
              <a:off x="3475027" y="10722"/>
              <a:ext cx="674283" cy="597222"/>
              <a:chOff x="0" y="0"/>
              <a:chExt cx="674281" cy="597221"/>
            </a:xfrm>
          </p:grpSpPr>
          <p:pic>
            <p:nvPicPr>
              <p:cNvPr id="136" name="image22.png" descr="Data64"/>
              <p:cNvPicPr/>
              <p:nvPr/>
            </p:nvPicPr>
            <p:blipFill>
              <a:blip r:embed="rId9" cstate="screen">
                <a:extLst>
                  <a:ext uri="{28A0092B-C50C-407E-A947-70E740481C1C}">
                    <a14:useLocalDpi xmlns:a14="http://schemas.microsoft.com/office/drawing/2010/main"/>
                  </a:ext>
                </a:extLst>
              </a:blip>
              <a:stretch>
                <a:fillRect/>
              </a:stretch>
            </p:blipFill>
            <p:spPr>
              <a:xfrm>
                <a:off x="154108" y="124804"/>
                <a:ext cx="329776" cy="329900"/>
              </a:xfrm>
              <a:prstGeom prst="rect">
                <a:avLst/>
              </a:prstGeom>
              <a:ln w="12700" cap="flat">
                <a:noFill/>
                <a:miter lim="400000"/>
              </a:ln>
              <a:effectLst/>
            </p:spPr>
          </p:pic>
          <p:pic>
            <p:nvPicPr>
              <p:cNvPr id="137"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41" name="Group 141"/>
            <p:cNvGrpSpPr/>
            <p:nvPr/>
          </p:nvGrpSpPr>
          <p:grpSpPr>
            <a:xfrm>
              <a:off x="4170033" y="10722"/>
              <a:ext cx="674282" cy="597222"/>
              <a:chOff x="0" y="0"/>
              <a:chExt cx="674281" cy="597221"/>
            </a:xfrm>
          </p:grpSpPr>
          <p:pic>
            <p:nvPicPr>
              <p:cNvPr id="139" name="image23.png" descr="watson64"/>
              <p:cNvPicPr/>
              <p:nvPr/>
            </p:nvPicPr>
            <p:blipFill>
              <a:blip r:embed="rId10" cstate="screen">
                <a:extLst>
                  <a:ext uri="{28A0092B-C50C-407E-A947-70E740481C1C}">
                    <a14:useLocalDpi xmlns:a14="http://schemas.microsoft.com/office/drawing/2010/main"/>
                  </a:ext>
                </a:extLst>
              </a:blip>
              <a:stretch>
                <a:fillRect/>
              </a:stretch>
            </p:blipFill>
            <p:spPr>
              <a:xfrm>
                <a:off x="147318" y="105508"/>
                <a:ext cx="370275" cy="370413"/>
              </a:xfrm>
              <a:prstGeom prst="rect">
                <a:avLst/>
              </a:prstGeom>
              <a:ln w="12700" cap="flat">
                <a:noFill/>
                <a:miter lim="400000"/>
              </a:ln>
              <a:effectLst/>
            </p:spPr>
          </p:pic>
          <p:pic>
            <p:nvPicPr>
              <p:cNvPr id="140"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44" name="Group 144"/>
            <p:cNvGrpSpPr/>
            <p:nvPr/>
          </p:nvGrpSpPr>
          <p:grpSpPr>
            <a:xfrm>
              <a:off x="4865038" y="0"/>
              <a:ext cx="674283" cy="597222"/>
              <a:chOff x="0" y="0"/>
              <a:chExt cx="674281" cy="597221"/>
            </a:xfrm>
          </p:grpSpPr>
          <p:pic>
            <p:nvPicPr>
              <p:cNvPr id="142" name="image24.png" descr="agile64"/>
              <p:cNvPicPr/>
              <p:nvPr/>
            </p:nvPicPr>
            <p:blipFill>
              <a:blip r:embed="rId11" cstate="screen">
                <a:extLst>
                  <a:ext uri="{28A0092B-C50C-407E-A947-70E740481C1C}">
                    <a14:useLocalDpi xmlns:a14="http://schemas.microsoft.com/office/drawing/2010/main"/>
                  </a:ext>
                </a:extLst>
              </a:blip>
              <a:stretch>
                <a:fillRect/>
              </a:stretch>
            </p:blipFill>
            <p:spPr>
              <a:xfrm>
                <a:off x="142460" y="108521"/>
                <a:ext cx="370275" cy="370414"/>
              </a:xfrm>
              <a:prstGeom prst="rect">
                <a:avLst/>
              </a:prstGeom>
              <a:ln w="12700" cap="flat">
                <a:noFill/>
                <a:miter lim="400000"/>
              </a:ln>
              <a:effectLst/>
            </p:spPr>
          </p:pic>
          <p:pic>
            <p:nvPicPr>
              <p:cNvPr id="143"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47" name="Group 147"/>
            <p:cNvGrpSpPr/>
            <p:nvPr/>
          </p:nvGrpSpPr>
          <p:grpSpPr>
            <a:xfrm>
              <a:off x="6255049" y="0"/>
              <a:ext cx="674283" cy="597222"/>
              <a:chOff x="0" y="0"/>
              <a:chExt cx="674281" cy="597221"/>
            </a:xfrm>
          </p:grpSpPr>
          <p:pic>
            <p:nvPicPr>
              <p:cNvPr id="145" name="image25.png" descr="AppScan_64x64"/>
              <p:cNvPicPr/>
              <p:nvPr/>
            </p:nvPicPr>
            <p:blipFill>
              <a:blip r:embed="rId12" cstate="screen">
                <a:extLst>
                  <a:ext uri="{28A0092B-C50C-407E-A947-70E740481C1C}">
                    <a14:useLocalDpi xmlns:a14="http://schemas.microsoft.com/office/drawing/2010/main"/>
                  </a:ext>
                </a:extLst>
              </a:blip>
              <a:stretch>
                <a:fillRect/>
              </a:stretch>
            </p:blipFill>
            <p:spPr>
              <a:xfrm>
                <a:off x="144548" y="103698"/>
                <a:ext cx="370275" cy="370414"/>
              </a:xfrm>
              <a:prstGeom prst="rect">
                <a:avLst/>
              </a:prstGeom>
              <a:ln w="12700" cap="flat">
                <a:noFill/>
                <a:miter lim="400000"/>
              </a:ln>
              <a:effectLst/>
            </p:spPr>
          </p:pic>
          <p:pic>
            <p:nvPicPr>
              <p:cNvPr id="146"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50" name="Group 150"/>
            <p:cNvGrpSpPr/>
            <p:nvPr/>
          </p:nvGrpSpPr>
          <p:grpSpPr>
            <a:xfrm>
              <a:off x="5560044" y="0"/>
              <a:ext cx="674283" cy="597222"/>
              <a:chOff x="0" y="0"/>
              <a:chExt cx="674281" cy="597221"/>
            </a:xfrm>
          </p:grpSpPr>
          <p:pic>
            <p:nvPicPr>
              <p:cNvPr id="148" name="image26.png"/>
              <p:cNvPicPr/>
              <p:nvPr/>
            </p:nvPicPr>
            <p:blipFill>
              <a:blip r:embed="rId13" cstate="screen">
                <a:extLst>
                  <a:ext uri="{28A0092B-C50C-407E-A947-70E740481C1C}">
                    <a14:useLocalDpi xmlns:a14="http://schemas.microsoft.com/office/drawing/2010/main"/>
                  </a:ext>
                </a:extLst>
              </a:blip>
              <a:stretch>
                <a:fillRect/>
              </a:stretch>
            </p:blipFill>
            <p:spPr>
              <a:xfrm>
                <a:off x="133974" y="150352"/>
                <a:ext cx="371984" cy="301213"/>
              </a:xfrm>
              <a:prstGeom prst="rect">
                <a:avLst/>
              </a:prstGeom>
              <a:ln w="12700" cap="flat">
                <a:noFill/>
                <a:miter lim="400000"/>
              </a:ln>
              <a:effectLst/>
            </p:spPr>
          </p:pic>
          <p:pic>
            <p:nvPicPr>
              <p:cNvPr id="149" name="image21.png"/>
              <p:cNvPicPr/>
              <p:nvPr/>
            </p:nvPicPr>
            <p:blipFill>
              <a:blip r:embed="rId8"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nvGrpSpPr>
            <p:cNvPr id="153" name="Group 153"/>
            <p:cNvGrpSpPr/>
            <p:nvPr/>
          </p:nvGrpSpPr>
          <p:grpSpPr>
            <a:xfrm>
              <a:off x="6950055" y="0"/>
              <a:ext cx="674283" cy="597222"/>
              <a:chOff x="0" y="0"/>
              <a:chExt cx="674281" cy="597221"/>
            </a:xfrm>
          </p:grpSpPr>
          <p:pic>
            <p:nvPicPr>
              <p:cNvPr id="151" name="image27.png" descr="datacache64"/>
              <p:cNvPicPr/>
              <p:nvPr/>
            </p:nvPicPr>
            <p:blipFill>
              <a:blip r:embed="rId14" cstate="screen">
                <a:extLst>
                  <a:ext uri="{28A0092B-C50C-407E-A947-70E740481C1C}">
                    <a14:useLocalDpi xmlns:a14="http://schemas.microsoft.com/office/drawing/2010/main"/>
                  </a:ext>
                </a:extLst>
              </a:blip>
              <a:stretch>
                <a:fillRect/>
              </a:stretch>
            </p:blipFill>
            <p:spPr>
              <a:xfrm>
                <a:off x="168180" y="130945"/>
                <a:ext cx="322496" cy="322733"/>
              </a:xfrm>
              <a:prstGeom prst="rect">
                <a:avLst/>
              </a:prstGeom>
              <a:ln w="12700" cap="flat">
                <a:noFill/>
                <a:miter lim="400000"/>
              </a:ln>
              <a:effectLst/>
            </p:spPr>
          </p:pic>
          <p:pic>
            <p:nvPicPr>
              <p:cNvPr id="152" name="image16.png"/>
              <p:cNvPicPr/>
              <p:nvPr/>
            </p:nvPicPr>
            <p:blipFill>
              <a:blip r:embed="rId3" cstate="screen">
                <a:extLst>
                  <a:ext uri="{28A0092B-C50C-407E-A947-70E740481C1C}">
                    <a14:useLocalDpi xmlns:a14="http://schemas.microsoft.com/office/drawing/2010/main"/>
                  </a:ext>
                </a:extLst>
              </a:blip>
              <a:stretch>
                <a:fillRect/>
              </a:stretch>
            </p:blipFill>
            <p:spPr>
              <a:xfrm>
                <a:off x="0" y="-1"/>
                <a:ext cx="674282" cy="597223"/>
              </a:xfrm>
              <a:prstGeom prst="rect">
                <a:avLst/>
              </a:prstGeom>
              <a:ln w="12700" cap="flat">
                <a:noFill/>
                <a:miter lim="400000"/>
              </a:ln>
              <a:effectLst>
                <a:reflection stA="20000" endPos="40000" dir="5400000" sy="-100000" algn="bl" rotWithShape="0"/>
              </a:effectLst>
            </p:spPr>
          </p:pic>
        </p:grpSp>
      </p:grpSp>
      <p:pic>
        <p:nvPicPr>
          <p:cNvPr id="155" name="image28.png"/>
          <p:cNvPicPr/>
          <p:nvPr/>
        </p:nvPicPr>
        <p:blipFill>
          <a:blip r:embed="rId15" cstate="screen">
            <a:extLst>
              <a:ext uri="{28A0092B-C50C-407E-A947-70E740481C1C}">
                <a14:useLocalDpi xmlns:a14="http://schemas.microsoft.com/office/drawing/2010/main"/>
              </a:ext>
            </a:extLst>
          </a:blip>
          <a:stretch>
            <a:fillRect/>
          </a:stretch>
        </p:blipFill>
        <p:spPr>
          <a:xfrm>
            <a:off x="3066915" y="279673"/>
            <a:ext cx="747798" cy="661579"/>
          </a:xfrm>
          <a:prstGeom prst="rect">
            <a:avLst/>
          </a:prstGeom>
          <a:ln w="12700">
            <a:miter lim="400000"/>
          </a:ln>
        </p:spPr>
      </p:pic>
    </p:spTree>
    <p:extLst>
      <p:ext uri="{BB962C8B-B14F-4D97-AF65-F5344CB8AC3E}">
        <p14:creationId xmlns:p14="http://schemas.microsoft.com/office/powerpoint/2010/main" val="4230851227"/>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3665" name="Group 1"/>
          <p:cNvGrpSpPr>
            <a:grpSpLocks/>
          </p:cNvGrpSpPr>
          <p:nvPr/>
        </p:nvGrpSpPr>
        <p:grpSpPr bwMode="auto">
          <a:xfrm>
            <a:off x="310266" y="1773055"/>
            <a:ext cx="2455863" cy="1056946"/>
            <a:chOff x="532778" y="1765880"/>
            <a:chExt cx="2346651" cy="1563292"/>
          </a:xfrm>
        </p:grpSpPr>
        <p:sp>
          <p:nvSpPr>
            <p:cNvPr id="48200" name="Rectangle 12"/>
            <p:cNvSpPr>
              <a:spLocks noChangeArrowheads="1"/>
            </p:cNvSpPr>
            <p:nvPr/>
          </p:nvSpPr>
          <p:spPr bwMode="auto">
            <a:xfrm>
              <a:off x="946893" y="1829276"/>
              <a:ext cx="1554826" cy="238992"/>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 pos="1970485" algn="l"/>
                </a:tabLst>
                <a:defRPr/>
              </a:pPr>
              <a:r>
                <a:rPr lang="en-US" sz="1050" b="1" kern="0" dirty="0">
                  <a:solidFill>
                    <a:srgbClr val="00649D"/>
                  </a:solidFill>
                  <a:latin typeface="Arial"/>
                  <a:ea typeface="MS PGothic" panose="020B0600070205080204" pitchFamily="34" charset="-128"/>
                  <a:cs typeface="Arial"/>
                  <a:sym typeface="Arial"/>
                </a:rPr>
                <a:t>Finance</a:t>
              </a:r>
            </a:p>
          </p:txBody>
        </p:sp>
        <p:sp>
          <p:nvSpPr>
            <p:cNvPr id="48201" name="Rectangle 8"/>
            <p:cNvSpPr>
              <a:spLocks noChangeArrowheads="1"/>
            </p:cNvSpPr>
            <p:nvPr/>
          </p:nvSpPr>
          <p:spPr bwMode="auto">
            <a:xfrm>
              <a:off x="878632" y="2078167"/>
              <a:ext cx="2000797" cy="1251005"/>
            </a:xfrm>
            <a:prstGeom prst="rect">
              <a:avLst/>
            </a:prstGeom>
            <a:noFill/>
            <a:ln w="9525">
              <a:noFill/>
              <a:miter lim="800000"/>
              <a:headEnd/>
              <a:tailEnd/>
            </a:ln>
          </p:spPr>
          <p:txBody>
            <a:bodyPr lIns="0" tIns="0" rIns="0" bIns="0">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477566" algn="l"/>
                  <a:tab pos="1970485" algn="l"/>
                </a:tabLst>
                <a:defRPr/>
              </a:pPr>
              <a:r>
                <a:rPr lang="en-US" sz="1050" kern="0" dirty="0" err="1">
                  <a:solidFill>
                    <a:schemeClr val="tx1"/>
                  </a:solidFill>
                  <a:latin typeface="Arial"/>
                  <a:ea typeface="MS PGothic" panose="020B0600070205080204" pitchFamily="34" charset="-128"/>
                  <a:cs typeface="Arial"/>
                  <a:sym typeface="Arial"/>
                </a:rPr>
                <a:t>Cognos</a:t>
              </a:r>
              <a:r>
                <a:rPr lang="en-US" sz="1050" kern="0" dirty="0">
                  <a:solidFill>
                    <a:schemeClr val="tx1"/>
                  </a:solidFill>
                  <a:latin typeface="Arial"/>
                  <a:ea typeface="MS PGothic" panose="020B0600070205080204" pitchFamily="34" charset="-128"/>
                  <a:cs typeface="Arial"/>
                  <a:sym typeface="Arial"/>
                </a:rPr>
                <a:t> Controller</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477566" algn="l"/>
                  <a:tab pos="1970485" algn="l"/>
                </a:tabLst>
                <a:defRPr/>
              </a:pPr>
              <a:r>
                <a:rPr lang="en-US" sz="1050" kern="0" dirty="0" err="1">
                  <a:solidFill>
                    <a:schemeClr val="tx1"/>
                  </a:solidFill>
                  <a:latin typeface="Arial"/>
                  <a:ea typeface="MS PGothic" panose="020B0600070205080204" pitchFamily="34" charset="-128"/>
                  <a:cs typeface="Arial"/>
                  <a:sym typeface="Arial"/>
                </a:rPr>
                <a:t>Cognos</a:t>
              </a:r>
              <a:r>
                <a:rPr lang="en-US" sz="1050" kern="0" dirty="0">
                  <a:solidFill>
                    <a:schemeClr val="tx1"/>
                  </a:solidFill>
                  <a:latin typeface="Arial"/>
                  <a:ea typeface="MS PGothic" panose="020B0600070205080204" pitchFamily="34" charset="-128"/>
                  <a:cs typeface="Arial"/>
                  <a:sym typeface="Arial"/>
                </a:rPr>
                <a:t> Disclosure Managemen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Concer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477566" algn="l"/>
                  <a:tab pos="1970485" algn="l"/>
                </a:tabLst>
                <a:defRPr/>
              </a:pPr>
              <a:r>
                <a:rPr lang="en-US" sz="1050" kern="0" dirty="0" err="1">
                  <a:solidFill>
                    <a:schemeClr val="tx1"/>
                  </a:solidFill>
                  <a:latin typeface="Arial"/>
                  <a:ea typeface="MS PGothic" panose="020B0600070205080204" pitchFamily="34" charset="-128"/>
                  <a:cs typeface="Arial"/>
                  <a:sym typeface="Arial"/>
                </a:rPr>
                <a:t>Cognos</a:t>
              </a:r>
              <a:r>
                <a:rPr lang="en-US" sz="1050" kern="0" dirty="0">
                  <a:solidFill>
                    <a:schemeClr val="tx1"/>
                  </a:solidFill>
                  <a:latin typeface="Arial"/>
                  <a:ea typeface="MS PGothic" panose="020B0600070205080204" pitchFamily="34" charset="-128"/>
                  <a:cs typeface="Arial"/>
                  <a:sym typeface="Arial"/>
                </a:rPr>
                <a:t> TM1</a:t>
              </a:r>
            </a:p>
            <a:p>
              <a:pPr defTabSz="310754" eaLnBrk="1" fontAlgn="auto" hangingPunct="1">
                <a:lnSpc>
                  <a:spcPct val="95000"/>
                </a:lnSpc>
                <a:spcBef>
                  <a:spcPts val="150"/>
                </a:spcBef>
                <a:spcAft>
                  <a:spcPts val="0"/>
                </a:spcAft>
                <a:buClr>
                  <a:srgbClr val="00649D"/>
                </a:buClr>
                <a:tabLst>
                  <a:tab pos="1477566" algn="l"/>
                  <a:tab pos="1970485" algn="l"/>
                </a:tabLst>
                <a:defRPr/>
              </a:pPr>
              <a:endParaRPr lang="en-US" sz="1050" kern="0" dirty="0">
                <a:solidFill>
                  <a:srgbClr val="000000"/>
                </a:solidFill>
                <a:latin typeface="Arial"/>
                <a:ea typeface="MS PGothic" panose="020B0600070205080204" pitchFamily="34" charset="-128"/>
                <a:cs typeface="Arial"/>
                <a:sym typeface="Arial"/>
              </a:endParaRPr>
            </a:p>
          </p:txBody>
        </p:sp>
        <p:sp>
          <p:nvSpPr>
            <p:cNvPr id="59" name="Freeform 10"/>
            <p:cNvSpPr>
              <a:spLocks noChangeAspect="1"/>
            </p:cNvSpPr>
            <p:nvPr/>
          </p:nvSpPr>
          <p:spPr bwMode="auto">
            <a:xfrm>
              <a:off x="532778" y="1765880"/>
              <a:ext cx="320067" cy="326375"/>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pic>
          <p:nvPicPr>
            <p:cNvPr id="113718" name="Pictur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003" y="1814824"/>
              <a:ext cx="251127" cy="229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66" name="Group 6"/>
          <p:cNvGrpSpPr>
            <a:grpSpLocks/>
          </p:cNvGrpSpPr>
          <p:nvPr/>
        </p:nvGrpSpPr>
        <p:grpSpPr bwMode="auto">
          <a:xfrm>
            <a:off x="6461125" y="1189039"/>
            <a:ext cx="2300288" cy="1571989"/>
            <a:chOff x="6346826" y="1806846"/>
            <a:chExt cx="2278062" cy="2095571"/>
          </a:xfrm>
        </p:grpSpPr>
        <p:sp>
          <p:nvSpPr>
            <p:cNvPr id="48196" name="Rectangle 7"/>
            <p:cNvSpPr>
              <a:spLocks noChangeArrowheads="1"/>
            </p:cNvSpPr>
            <p:nvPr/>
          </p:nvSpPr>
          <p:spPr bwMode="auto">
            <a:xfrm>
              <a:off x="6798037" y="2084074"/>
              <a:ext cx="1826851" cy="1818343"/>
            </a:xfrm>
            <a:prstGeom prst="rect">
              <a:avLst/>
            </a:prstGeom>
            <a:noFill/>
            <a:ln w="9525">
              <a:noFill/>
              <a:miter lim="800000"/>
              <a:headEnd/>
              <a:tailEnd/>
            </a:ln>
          </p:spPr>
          <p:txBody>
            <a:bodyPr lIns="0" tIns="0" rIns="0" bIns="0">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SPSS Modeler Gold</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Watson Analytics</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Watson Curator</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Business Intelligence</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Case Manager</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Content Manager on Demand</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Internet of Things Foundation</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492919" algn="l"/>
                  <a:tab pos="984647" algn="l"/>
                  <a:tab pos="1477566" algn="l"/>
                  <a:tab pos="1970485" algn="l"/>
                </a:tabLst>
                <a:defRPr/>
              </a:pPr>
              <a:r>
                <a:rPr lang="en-US" sz="1050" kern="0" dirty="0">
                  <a:solidFill>
                    <a:schemeClr val="tx1"/>
                  </a:solidFill>
                  <a:latin typeface="Arial"/>
                  <a:ea typeface="MS PGothic" panose="020B0600070205080204" pitchFamily="34" charset="-128"/>
                  <a:cs typeface="Arial"/>
                  <a:sym typeface="Arial"/>
                </a:rPr>
                <a:t>Insight as a Service</a:t>
              </a:r>
            </a:p>
          </p:txBody>
        </p:sp>
        <p:sp>
          <p:nvSpPr>
            <p:cNvPr id="48197" name="Rectangle 13"/>
            <p:cNvSpPr>
              <a:spLocks noChangeArrowheads="1"/>
            </p:cNvSpPr>
            <p:nvPr/>
          </p:nvSpPr>
          <p:spPr bwMode="auto">
            <a:xfrm>
              <a:off x="6798037" y="1855519"/>
              <a:ext cx="1553295" cy="215401"/>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Lst>
                <a:defRPr/>
              </a:pPr>
              <a:r>
                <a:rPr lang="en-US" sz="1050" b="1" kern="0" dirty="0">
                  <a:solidFill>
                    <a:srgbClr val="00649D"/>
                  </a:solidFill>
                  <a:latin typeface="Arial"/>
                  <a:ea typeface="MS PGothic" panose="020B0600070205080204" pitchFamily="34" charset="-128"/>
                  <a:cs typeface="Arial"/>
                  <a:sym typeface="Arial"/>
                </a:rPr>
                <a:t>Horizontals</a:t>
              </a:r>
            </a:p>
          </p:txBody>
        </p:sp>
        <p:sp>
          <p:nvSpPr>
            <p:cNvPr id="63" name="Freeform 10"/>
            <p:cNvSpPr>
              <a:spLocks noChangeAspect="1"/>
            </p:cNvSpPr>
            <p:nvPr/>
          </p:nvSpPr>
          <p:spPr bwMode="auto">
            <a:xfrm>
              <a:off x="6346826" y="1806846"/>
              <a:ext cx="344304" cy="300507"/>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pic>
          <p:nvPicPr>
            <p:cNvPr id="113714" name="Picture 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06660" y="1844562"/>
              <a:ext cx="229033" cy="228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67" name="Group 5"/>
          <p:cNvGrpSpPr>
            <a:grpSpLocks/>
          </p:cNvGrpSpPr>
          <p:nvPr/>
        </p:nvGrpSpPr>
        <p:grpSpPr bwMode="auto">
          <a:xfrm>
            <a:off x="1700213" y="1036427"/>
            <a:ext cx="2101850" cy="517792"/>
            <a:chOff x="543902" y="4904935"/>
            <a:chExt cx="2238346" cy="689595"/>
          </a:xfrm>
        </p:grpSpPr>
        <p:sp>
          <p:nvSpPr>
            <p:cNvPr id="48203" name="Rectangle 7"/>
            <p:cNvSpPr>
              <a:spLocks noChangeArrowheads="1"/>
            </p:cNvSpPr>
            <p:nvPr/>
          </p:nvSpPr>
          <p:spPr bwMode="auto">
            <a:xfrm>
              <a:off x="1018959" y="4928192"/>
              <a:ext cx="1763289" cy="666338"/>
            </a:xfrm>
            <a:prstGeom prst="rect">
              <a:avLst/>
            </a:prstGeom>
            <a:noFill/>
            <a:ln w="9525">
              <a:noFill/>
              <a:miter lim="800000"/>
              <a:headEnd/>
              <a:tailEnd/>
            </a:ln>
          </p:spPr>
          <p:txBody>
            <a:bodyPr lIns="0" tIns="0" rIns="0" bIns="0">
              <a:spAutoFit/>
            </a:bodyPr>
            <a:lstStyle/>
            <a:p>
              <a:pPr defTabSz="310754" eaLnBrk="1" fontAlgn="auto" hangingPunct="1">
                <a:lnSpc>
                  <a:spcPct val="95000"/>
                </a:lnSpc>
                <a:spcBef>
                  <a:spcPts val="150"/>
                </a:spcBef>
                <a:spcAft>
                  <a:spcPts val="0"/>
                </a:spcAft>
                <a:buClr>
                  <a:srgbClr val="00649D"/>
                </a:buClr>
                <a:defRPr/>
              </a:pPr>
              <a:r>
                <a:rPr lang="en-US" sz="1050" b="1" kern="0" dirty="0">
                  <a:solidFill>
                    <a:srgbClr val="00649D"/>
                  </a:solidFill>
                  <a:latin typeface="Arial"/>
                  <a:ea typeface="MS PGothic" panose="020B0600070205080204" pitchFamily="34" charset="-128"/>
                  <a:cs typeface="Arial"/>
                  <a:sym typeface="Arial"/>
                </a:rPr>
                <a:t>Marketing</a:t>
              </a:r>
              <a:endParaRPr lang="en-US" sz="1050" kern="0" dirty="0">
                <a:solidFill>
                  <a:srgbClr val="00649D"/>
                </a:solidFill>
                <a:latin typeface="Arial"/>
                <a:ea typeface="MS PGothic" panose="020B0600070205080204" pitchFamily="34" charset="-128"/>
                <a:cs typeface="Arial"/>
                <a:sym typeface="Arial"/>
              </a:endParaRPr>
            </a:p>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rgbClr val="000000"/>
                  </a:solidFill>
                  <a:latin typeface="Arial"/>
                  <a:ea typeface="MS PGothic" panose="020B0600070205080204" pitchFamily="34" charset="-128"/>
                  <a:cs typeface="Arial"/>
                  <a:sym typeface="Arial"/>
                </a:rPr>
                <a:t>Social Media Analytics</a:t>
              </a:r>
            </a:p>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rgbClr val="000000"/>
                  </a:solidFill>
                  <a:latin typeface="Arial"/>
                  <a:ea typeface="MS PGothic" panose="020B0600070205080204" pitchFamily="34" charset="-128"/>
                  <a:cs typeface="Arial"/>
                  <a:sym typeface="Arial"/>
                </a:rPr>
                <a:t>SPSS Data Collection</a:t>
              </a:r>
            </a:p>
          </p:txBody>
        </p:sp>
        <p:sp>
          <p:nvSpPr>
            <p:cNvPr id="64" name="Freeform 10"/>
            <p:cNvSpPr>
              <a:spLocks noChangeAspect="1"/>
            </p:cNvSpPr>
            <p:nvPr/>
          </p:nvSpPr>
          <p:spPr bwMode="auto">
            <a:xfrm>
              <a:off x="543902" y="4904935"/>
              <a:ext cx="344881" cy="300221"/>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pic>
          <p:nvPicPr>
            <p:cNvPr id="113710" name="Picture 3"/>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3260" y="4963120"/>
              <a:ext cx="233196" cy="167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68" name="Group 2"/>
          <p:cNvGrpSpPr>
            <a:grpSpLocks/>
          </p:cNvGrpSpPr>
          <p:nvPr/>
        </p:nvGrpSpPr>
        <p:grpSpPr bwMode="auto">
          <a:xfrm>
            <a:off x="4110831" y="825522"/>
            <a:ext cx="2820987" cy="887381"/>
            <a:chOff x="3257954" y="3316487"/>
            <a:chExt cx="3018349" cy="1183300"/>
          </a:xfrm>
        </p:grpSpPr>
        <p:sp>
          <p:nvSpPr>
            <p:cNvPr id="48198" name="Rectangle 13"/>
            <p:cNvSpPr>
              <a:spLocks noChangeArrowheads="1"/>
            </p:cNvSpPr>
            <p:nvPr/>
          </p:nvSpPr>
          <p:spPr bwMode="auto">
            <a:xfrm>
              <a:off x="3736949" y="3341890"/>
              <a:ext cx="1554186" cy="215467"/>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Lst>
                <a:defRPr/>
              </a:pPr>
              <a:r>
                <a:rPr lang="en-US" sz="1050" b="1" kern="0" dirty="0">
                  <a:solidFill>
                    <a:srgbClr val="00649D"/>
                  </a:solidFill>
                  <a:latin typeface="Arial"/>
                  <a:ea typeface="MS PGothic" panose="020B0600070205080204" pitchFamily="34" charset="-128"/>
                  <a:cs typeface="Arial"/>
                  <a:sym typeface="Arial"/>
                </a:rPr>
                <a:t>Risk</a:t>
              </a:r>
            </a:p>
          </p:txBody>
        </p:sp>
        <p:sp>
          <p:nvSpPr>
            <p:cNvPr id="48199" name="Rectangle 9"/>
            <p:cNvSpPr>
              <a:spLocks noChangeArrowheads="1"/>
            </p:cNvSpPr>
            <p:nvPr/>
          </p:nvSpPr>
          <p:spPr bwMode="auto">
            <a:xfrm>
              <a:off x="3713169" y="3602267"/>
              <a:ext cx="2563134" cy="897520"/>
            </a:xfrm>
            <a:prstGeom prst="rect">
              <a:avLst/>
            </a:prstGeom>
            <a:noFill/>
            <a:ln w="9525">
              <a:noFill/>
              <a:miter lim="800000"/>
              <a:headEnd/>
              <a:tailEnd/>
            </a:ln>
          </p:spPr>
          <p:txBody>
            <a:bodyPr lIns="0" tIns="0" rIns="0" bIns="0">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rgbClr val="000000"/>
                  </a:solidFill>
                  <a:latin typeface="Arial"/>
                  <a:ea typeface="MS PGothic" panose="020B0600070205080204" pitchFamily="34" charset="-128"/>
                  <a:cs typeface="Arial"/>
                  <a:sym typeface="Arial"/>
                </a:rPr>
                <a:t>Risk Content &amp; Data Services</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Algo</a:t>
              </a:r>
              <a:r>
                <a:rPr lang="en-US" sz="1050" kern="0" dirty="0">
                  <a:solidFill>
                    <a:schemeClr val="tx1"/>
                  </a:solidFill>
                  <a:latin typeface="Arial"/>
                  <a:ea typeface="MS PGothic" panose="020B0600070205080204" pitchFamily="34" charset="-128"/>
                  <a:cs typeface="Arial"/>
                  <a:sym typeface="Arial"/>
                </a:rPr>
                <a:t> Risk Conten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Algo</a:t>
              </a:r>
              <a:r>
                <a:rPr lang="en-US" sz="1050" kern="0" dirty="0">
                  <a:solidFill>
                    <a:schemeClr val="tx1"/>
                  </a:solidFill>
                  <a:latin typeface="Arial"/>
                  <a:ea typeface="MS PGothic" panose="020B0600070205080204" pitchFamily="34" charset="-128"/>
                  <a:cs typeface="Arial"/>
                  <a:sym typeface="Arial"/>
                </a:rPr>
                <a:t> Risk Service </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OpenPages</a:t>
              </a:r>
              <a:r>
                <a:rPr lang="en-US" sz="1050" kern="0" dirty="0">
                  <a:solidFill>
                    <a:schemeClr val="tx1"/>
                  </a:solidFill>
                  <a:latin typeface="Arial"/>
                  <a:ea typeface="MS PGothic" panose="020B0600070205080204" pitchFamily="34" charset="-128"/>
                  <a:cs typeface="Arial"/>
                  <a:sym typeface="Arial"/>
                </a:rPr>
                <a:t> GRC </a:t>
              </a:r>
            </a:p>
          </p:txBody>
        </p:sp>
        <p:sp>
          <p:nvSpPr>
            <p:cNvPr id="66" name="Freeform 10"/>
            <p:cNvSpPr>
              <a:spLocks noChangeAspect="1"/>
            </p:cNvSpPr>
            <p:nvPr/>
          </p:nvSpPr>
          <p:spPr bwMode="auto">
            <a:xfrm>
              <a:off x="3257954" y="3316487"/>
              <a:ext cx="344808" cy="300599"/>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pic>
          <p:nvPicPr>
            <p:cNvPr id="113707" name="Picture 7"/>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28474" y="3390253"/>
              <a:ext cx="208211" cy="186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69" name="Group 4"/>
          <p:cNvGrpSpPr>
            <a:grpSpLocks/>
          </p:cNvGrpSpPr>
          <p:nvPr/>
        </p:nvGrpSpPr>
        <p:grpSpPr bwMode="auto">
          <a:xfrm>
            <a:off x="3384550" y="4356257"/>
            <a:ext cx="3306765" cy="673069"/>
            <a:chOff x="510103" y="2605588"/>
            <a:chExt cx="3468101" cy="896461"/>
          </a:xfrm>
        </p:grpSpPr>
        <p:sp>
          <p:nvSpPr>
            <p:cNvPr id="67" name="Freeform 10"/>
            <p:cNvSpPr>
              <a:spLocks noChangeAspect="1"/>
            </p:cNvSpPr>
            <p:nvPr/>
          </p:nvSpPr>
          <p:spPr bwMode="auto">
            <a:xfrm>
              <a:off x="510103" y="2901584"/>
              <a:ext cx="344645" cy="302358"/>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grpSp>
          <p:nvGrpSpPr>
            <p:cNvPr id="113689" name="Group 3"/>
            <p:cNvGrpSpPr>
              <a:grpSpLocks/>
            </p:cNvGrpSpPr>
            <p:nvPr/>
          </p:nvGrpSpPr>
          <p:grpSpPr bwMode="auto">
            <a:xfrm>
              <a:off x="603260" y="2605588"/>
              <a:ext cx="3374944" cy="896461"/>
              <a:chOff x="586190" y="2565469"/>
              <a:chExt cx="2460391" cy="1270914"/>
            </a:xfrm>
          </p:grpSpPr>
          <p:sp>
            <p:nvSpPr>
              <p:cNvPr id="48205" name="Rectangle 6"/>
              <p:cNvSpPr>
                <a:spLocks noChangeArrowheads="1"/>
              </p:cNvSpPr>
              <p:nvPr/>
            </p:nvSpPr>
            <p:spPr bwMode="auto">
              <a:xfrm>
                <a:off x="858137" y="2565469"/>
                <a:ext cx="2188444" cy="1270914"/>
              </a:xfrm>
              <a:prstGeom prst="rect">
                <a:avLst/>
              </a:prstGeom>
              <a:noFill/>
              <a:ln w="9525">
                <a:noFill/>
                <a:miter lim="800000"/>
                <a:headEnd/>
                <a:tailEnd/>
              </a:ln>
            </p:spPr>
            <p:txBody>
              <a:bodyPr lIns="0" tIns="0" rIns="0" bIns="0">
                <a:spAutoFit/>
              </a:bodyPr>
              <a:lstStyle/>
              <a:p>
                <a:pPr defTabSz="310754" eaLnBrk="1" fontAlgn="auto" hangingPunct="1">
                  <a:lnSpc>
                    <a:spcPct val="95000"/>
                  </a:lnSpc>
                  <a:spcBef>
                    <a:spcPts val="150"/>
                  </a:spcBef>
                  <a:spcAft>
                    <a:spcPts val="0"/>
                  </a:spcAft>
                  <a:buClr>
                    <a:srgbClr val="00649D"/>
                  </a:buClr>
                  <a:tabLst>
                    <a:tab pos="1970485" algn="l"/>
                  </a:tabLst>
                  <a:defRPr/>
                </a:pPr>
                <a:r>
                  <a:rPr lang="en-US" sz="1050" b="1" kern="0" dirty="0">
                    <a:solidFill>
                      <a:srgbClr val="00649D"/>
                    </a:solidFill>
                    <a:latin typeface="Arial"/>
                    <a:ea typeface="MS PGothic" panose="020B0600070205080204" pitchFamily="34" charset="-128"/>
                    <a:cs typeface="Arial"/>
                    <a:sym typeface="Arial"/>
                  </a:rPr>
                  <a:t>Sales </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rgbClr val="000000"/>
                    </a:solidFill>
                    <a:latin typeface="Arial"/>
                    <a:ea typeface="MS PGothic" panose="020B0600070205080204" pitchFamily="34" charset="-128"/>
                    <a:cs typeface="Arial"/>
                    <a:sym typeface="Arial"/>
                  </a:rPr>
                  <a:t>Incentive Compensation Managemen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rgbClr val="000000"/>
                    </a:solidFill>
                    <a:latin typeface="Arial"/>
                    <a:ea typeface="MS PGothic" panose="020B0600070205080204" pitchFamily="34" charset="-128"/>
                    <a:cs typeface="Arial"/>
                    <a:sym typeface="Arial"/>
                  </a:rPr>
                  <a:t>Territory Managemen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rgbClr val="000000"/>
                    </a:solidFill>
                    <a:latin typeface="Arial"/>
                    <a:ea typeface="MS PGothic" panose="020B0600070205080204" pitchFamily="34" charset="-128"/>
                    <a:cs typeface="Arial"/>
                    <a:sym typeface="Arial"/>
                  </a:rPr>
                  <a:t>Quota Management</a:t>
                </a:r>
              </a:p>
            </p:txBody>
          </p:sp>
          <p:grpSp>
            <p:nvGrpSpPr>
              <p:cNvPr id="113691" name="Group 28678"/>
              <p:cNvGrpSpPr>
                <a:grpSpLocks/>
              </p:cNvGrpSpPr>
              <p:nvPr/>
            </p:nvGrpSpPr>
            <p:grpSpPr bwMode="auto">
              <a:xfrm>
                <a:off x="586190" y="3133467"/>
                <a:ext cx="161942" cy="172644"/>
                <a:chOff x="-1449388" y="2657475"/>
                <a:chExt cx="355600" cy="377825"/>
              </a:xfrm>
            </p:grpSpPr>
            <p:sp>
              <p:nvSpPr>
                <p:cNvPr id="48179" name="Freeform 5"/>
                <p:cNvSpPr>
                  <a:spLocks/>
                </p:cNvSpPr>
                <p:nvPr/>
              </p:nvSpPr>
              <p:spPr bwMode="auto">
                <a:xfrm>
                  <a:off x="-1449259" y="2962554"/>
                  <a:ext cx="354480" cy="72159"/>
                </a:xfrm>
                <a:custGeom>
                  <a:avLst/>
                  <a:gdLst>
                    <a:gd name="T0" fmla="*/ 761640993 w 164"/>
                    <a:gd name="T1" fmla="*/ 133411317 h 32"/>
                    <a:gd name="T2" fmla="*/ 747538417 w 164"/>
                    <a:gd name="T3" fmla="*/ 133411317 h 32"/>
                    <a:gd name="T4" fmla="*/ 752239276 w 164"/>
                    <a:gd name="T5" fmla="*/ 114350998 h 32"/>
                    <a:gd name="T6" fmla="*/ 752239276 w 164"/>
                    <a:gd name="T7" fmla="*/ 38118455 h 32"/>
                    <a:gd name="T8" fmla="*/ 747538417 w 164"/>
                    <a:gd name="T9" fmla="*/ 19058136 h 32"/>
                    <a:gd name="T10" fmla="*/ 761640993 w 164"/>
                    <a:gd name="T11" fmla="*/ 19058136 h 32"/>
                    <a:gd name="T12" fmla="*/ 771044878 w 164"/>
                    <a:gd name="T13" fmla="*/ 9530159 h 32"/>
                    <a:gd name="T14" fmla="*/ 761640993 w 164"/>
                    <a:gd name="T15" fmla="*/ 0 h 32"/>
                    <a:gd name="T16" fmla="*/ 709925044 w 164"/>
                    <a:gd name="T17" fmla="*/ 0 h 32"/>
                    <a:gd name="T18" fmla="*/ 56418976 w 164"/>
                    <a:gd name="T19" fmla="*/ 0 h 32"/>
                    <a:gd name="T20" fmla="*/ 9403885 w 164"/>
                    <a:gd name="T21" fmla="*/ 0 h 32"/>
                    <a:gd name="T22" fmla="*/ 0 w 164"/>
                    <a:gd name="T23" fmla="*/ 9530159 h 32"/>
                    <a:gd name="T24" fmla="*/ 9403885 w 164"/>
                    <a:gd name="T25" fmla="*/ 19058136 h 32"/>
                    <a:gd name="T26" fmla="*/ 18805602 w 164"/>
                    <a:gd name="T27" fmla="*/ 19058136 h 32"/>
                    <a:gd name="T28" fmla="*/ 9403885 w 164"/>
                    <a:gd name="T29" fmla="*/ 38118455 h 32"/>
                    <a:gd name="T30" fmla="*/ 9403885 w 164"/>
                    <a:gd name="T31" fmla="*/ 114350998 h 32"/>
                    <a:gd name="T32" fmla="*/ 18805602 w 164"/>
                    <a:gd name="T33" fmla="*/ 133411317 h 32"/>
                    <a:gd name="T34" fmla="*/ 9403885 w 164"/>
                    <a:gd name="T35" fmla="*/ 133411317 h 32"/>
                    <a:gd name="T36" fmla="*/ 0 w 164"/>
                    <a:gd name="T37" fmla="*/ 142939294 h 32"/>
                    <a:gd name="T38" fmla="*/ 9403885 w 164"/>
                    <a:gd name="T39" fmla="*/ 152469453 h 32"/>
                    <a:gd name="T40" fmla="*/ 56418976 w 164"/>
                    <a:gd name="T41" fmla="*/ 152469453 h 32"/>
                    <a:gd name="T42" fmla="*/ 709925044 w 164"/>
                    <a:gd name="T43" fmla="*/ 152469453 h 32"/>
                    <a:gd name="T44" fmla="*/ 761640993 w 164"/>
                    <a:gd name="T45" fmla="*/ 152469453 h 32"/>
                    <a:gd name="T46" fmla="*/ 771044878 w 164"/>
                    <a:gd name="T47" fmla="*/ 142939294 h 32"/>
                    <a:gd name="T48" fmla="*/ 761640993 w 164"/>
                    <a:gd name="T49" fmla="*/ 133411317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4"/>
                    <a:gd name="T76" fmla="*/ 0 h 32"/>
                    <a:gd name="T77" fmla="*/ 164 w 164"/>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4" h="32">
                      <a:moveTo>
                        <a:pt x="162" y="28"/>
                      </a:moveTo>
                      <a:cubicBezTo>
                        <a:pt x="159" y="28"/>
                        <a:pt x="159" y="28"/>
                        <a:pt x="159" y="28"/>
                      </a:cubicBezTo>
                      <a:cubicBezTo>
                        <a:pt x="160" y="27"/>
                        <a:pt x="160" y="25"/>
                        <a:pt x="160" y="24"/>
                      </a:cubicBezTo>
                      <a:cubicBezTo>
                        <a:pt x="160" y="8"/>
                        <a:pt x="160" y="8"/>
                        <a:pt x="160" y="8"/>
                      </a:cubicBezTo>
                      <a:cubicBezTo>
                        <a:pt x="160" y="6"/>
                        <a:pt x="160" y="5"/>
                        <a:pt x="159" y="4"/>
                      </a:cubicBezTo>
                      <a:cubicBezTo>
                        <a:pt x="162" y="4"/>
                        <a:pt x="162" y="4"/>
                        <a:pt x="162" y="4"/>
                      </a:cubicBezTo>
                      <a:cubicBezTo>
                        <a:pt x="163" y="4"/>
                        <a:pt x="164" y="3"/>
                        <a:pt x="164" y="2"/>
                      </a:cubicBezTo>
                      <a:cubicBezTo>
                        <a:pt x="164" y="1"/>
                        <a:pt x="163" y="0"/>
                        <a:pt x="162" y="0"/>
                      </a:cubicBezTo>
                      <a:cubicBezTo>
                        <a:pt x="151" y="0"/>
                        <a:pt x="151" y="0"/>
                        <a:pt x="151" y="0"/>
                      </a:cubicBezTo>
                      <a:cubicBezTo>
                        <a:pt x="12" y="0"/>
                        <a:pt x="12" y="0"/>
                        <a:pt x="12" y="0"/>
                      </a:cubicBezTo>
                      <a:cubicBezTo>
                        <a:pt x="2" y="0"/>
                        <a:pt x="2" y="0"/>
                        <a:pt x="2" y="0"/>
                      </a:cubicBezTo>
                      <a:cubicBezTo>
                        <a:pt x="1" y="0"/>
                        <a:pt x="0" y="1"/>
                        <a:pt x="0" y="2"/>
                      </a:cubicBezTo>
                      <a:cubicBezTo>
                        <a:pt x="0" y="3"/>
                        <a:pt x="1" y="4"/>
                        <a:pt x="2" y="4"/>
                      </a:cubicBezTo>
                      <a:cubicBezTo>
                        <a:pt x="4" y="4"/>
                        <a:pt x="4" y="4"/>
                        <a:pt x="4" y="4"/>
                      </a:cubicBezTo>
                      <a:cubicBezTo>
                        <a:pt x="3" y="5"/>
                        <a:pt x="2" y="6"/>
                        <a:pt x="2" y="8"/>
                      </a:cubicBezTo>
                      <a:cubicBezTo>
                        <a:pt x="2" y="24"/>
                        <a:pt x="2" y="24"/>
                        <a:pt x="2" y="24"/>
                      </a:cubicBezTo>
                      <a:cubicBezTo>
                        <a:pt x="2" y="25"/>
                        <a:pt x="3" y="27"/>
                        <a:pt x="4" y="28"/>
                      </a:cubicBezTo>
                      <a:cubicBezTo>
                        <a:pt x="2" y="28"/>
                        <a:pt x="2" y="28"/>
                        <a:pt x="2" y="28"/>
                      </a:cubicBezTo>
                      <a:cubicBezTo>
                        <a:pt x="1" y="28"/>
                        <a:pt x="0" y="29"/>
                        <a:pt x="0" y="30"/>
                      </a:cubicBezTo>
                      <a:cubicBezTo>
                        <a:pt x="0" y="31"/>
                        <a:pt x="1" y="32"/>
                        <a:pt x="2" y="32"/>
                      </a:cubicBezTo>
                      <a:cubicBezTo>
                        <a:pt x="12" y="32"/>
                        <a:pt x="12" y="32"/>
                        <a:pt x="12" y="32"/>
                      </a:cubicBezTo>
                      <a:cubicBezTo>
                        <a:pt x="151" y="32"/>
                        <a:pt x="151" y="32"/>
                        <a:pt x="151" y="32"/>
                      </a:cubicBezTo>
                      <a:cubicBezTo>
                        <a:pt x="162" y="32"/>
                        <a:pt x="162" y="32"/>
                        <a:pt x="162" y="32"/>
                      </a:cubicBezTo>
                      <a:cubicBezTo>
                        <a:pt x="163" y="32"/>
                        <a:pt x="164" y="31"/>
                        <a:pt x="164" y="30"/>
                      </a:cubicBezTo>
                      <a:cubicBezTo>
                        <a:pt x="164" y="29"/>
                        <a:pt x="163" y="28"/>
                        <a:pt x="162" y="28"/>
                      </a:cubicBezTo>
                      <a:close/>
                    </a:path>
                  </a:pathLst>
                </a:custGeom>
                <a:solidFill>
                  <a:srgbClr val="009444"/>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0" name="Freeform 6"/>
                <p:cNvSpPr>
                  <a:spLocks/>
                </p:cNvSpPr>
                <p:nvPr/>
              </p:nvSpPr>
              <p:spPr bwMode="auto">
                <a:xfrm>
                  <a:off x="-1294673" y="2673909"/>
                  <a:ext cx="34648" cy="26240"/>
                </a:xfrm>
                <a:custGeom>
                  <a:avLst/>
                  <a:gdLst>
                    <a:gd name="T0" fmla="*/ 73809956 w 17"/>
                    <a:gd name="T1" fmla="*/ 28118823 h 11"/>
                    <a:gd name="T2" fmla="*/ 41517429 w 17"/>
                    <a:gd name="T3" fmla="*/ 46863984 h 11"/>
                    <a:gd name="T4" fmla="*/ 27679002 w 17"/>
                    <a:gd name="T5" fmla="*/ 46863984 h 11"/>
                    <a:gd name="T6" fmla="*/ 0 w 17"/>
                    <a:gd name="T7" fmla="*/ 23431992 h 11"/>
                    <a:gd name="T8" fmla="*/ 0 w 17"/>
                    <a:gd name="T9" fmla="*/ 23431992 h 11"/>
                    <a:gd name="T10" fmla="*/ 36906052 w 17"/>
                    <a:gd name="T11" fmla="*/ 0 h 11"/>
                    <a:gd name="T12" fmla="*/ 50744479 w 17"/>
                    <a:gd name="T13" fmla="*/ 0 h 11"/>
                    <a:gd name="T14" fmla="*/ 73809956 w 17"/>
                    <a:gd name="T15" fmla="*/ 28118823 h 11"/>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1"/>
                    <a:gd name="T26" fmla="*/ 17 w 17"/>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1">
                      <a:moveTo>
                        <a:pt x="16" y="6"/>
                      </a:moveTo>
                      <a:cubicBezTo>
                        <a:pt x="15" y="9"/>
                        <a:pt x="12" y="11"/>
                        <a:pt x="9" y="10"/>
                      </a:cubicBezTo>
                      <a:cubicBezTo>
                        <a:pt x="8" y="10"/>
                        <a:pt x="7" y="10"/>
                        <a:pt x="6" y="10"/>
                      </a:cubicBezTo>
                      <a:cubicBezTo>
                        <a:pt x="3" y="10"/>
                        <a:pt x="0" y="7"/>
                        <a:pt x="0" y="5"/>
                      </a:cubicBezTo>
                      <a:cubicBezTo>
                        <a:pt x="0" y="5"/>
                        <a:pt x="0" y="5"/>
                        <a:pt x="0" y="5"/>
                      </a:cubicBezTo>
                      <a:cubicBezTo>
                        <a:pt x="0" y="2"/>
                        <a:pt x="4" y="0"/>
                        <a:pt x="8" y="0"/>
                      </a:cubicBezTo>
                      <a:cubicBezTo>
                        <a:pt x="9" y="0"/>
                        <a:pt x="10" y="0"/>
                        <a:pt x="11" y="0"/>
                      </a:cubicBezTo>
                      <a:cubicBezTo>
                        <a:pt x="14" y="1"/>
                        <a:pt x="17" y="4"/>
                        <a:pt x="16" y="6"/>
                      </a:cubicBezTo>
                      <a:close/>
                    </a:path>
                  </a:pathLst>
                </a:custGeom>
                <a:solidFill>
                  <a:srgbClr val="414042"/>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1" name="Freeform 7"/>
                <p:cNvSpPr>
                  <a:spLocks/>
                </p:cNvSpPr>
                <p:nvPr/>
              </p:nvSpPr>
              <p:spPr bwMode="auto">
                <a:xfrm>
                  <a:off x="-1249364" y="2680467"/>
                  <a:ext cx="39980" cy="32803"/>
                </a:xfrm>
                <a:custGeom>
                  <a:avLst/>
                  <a:gdLst>
                    <a:gd name="T0" fmla="*/ 77784070 w 18"/>
                    <a:gd name="T1" fmla="*/ 43484556 h 13"/>
                    <a:gd name="T2" fmla="*/ 38892035 w 18"/>
                    <a:gd name="T3" fmla="*/ 57978675 h 13"/>
                    <a:gd name="T4" fmla="*/ 24306695 w 18"/>
                    <a:gd name="T5" fmla="*/ 53147302 h 13"/>
                    <a:gd name="T6" fmla="*/ 4861780 w 18"/>
                    <a:gd name="T7" fmla="*/ 19325492 h 13"/>
                    <a:gd name="T8" fmla="*/ 4861780 w 18"/>
                    <a:gd name="T9" fmla="*/ 19325492 h 13"/>
                    <a:gd name="T10" fmla="*/ 48615595 w 18"/>
                    <a:gd name="T11" fmla="*/ 4831373 h 13"/>
                    <a:gd name="T12" fmla="*/ 58339155 w 18"/>
                    <a:gd name="T13" fmla="*/ 9662746 h 13"/>
                    <a:gd name="T14" fmla="*/ 77784070 w 18"/>
                    <a:gd name="T15" fmla="*/ 43484556 h 13"/>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3"/>
                    <a:gd name="T26" fmla="*/ 18 w 18"/>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3">
                      <a:moveTo>
                        <a:pt x="16" y="9"/>
                      </a:moveTo>
                      <a:cubicBezTo>
                        <a:pt x="15" y="12"/>
                        <a:pt x="11" y="13"/>
                        <a:pt x="8" y="12"/>
                      </a:cubicBezTo>
                      <a:cubicBezTo>
                        <a:pt x="7" y="11"/>
                        <a:pt x="6" y="11"/>
                        <a:pt x="5" y="11"/>
                      </a:cubicBezTo>
                      <a:cubicBezTo>
                        <a:pt x="2" y="10"/>
                        <a:pt x="0" y="7"/>
                        <a:pt x="1" y="4"/>
                      </a:cubicBezTo>
                      <a:cubicBezTo>
                        <a:pt x="1" y="4"/>
                        <a:pt x="1" y="4"/>
                        <a:pt x="1" y="4"/>
                      </a:cubicBezTo>
                      <a:cubicBezTo>
                        <a:pt x="2" y="2"/>
                        <a:pt x="6" y="0"/>
                        <a:pt x="10" y="1"/>
                      </a:cubicBezTo>
                      <a:cubicBezTo>
                        <a:pt x="11" y="2"/>
                        <a:pt x="12" y="2"/>
                        <a:pt x="12" y="2"/>
                      </a:cubicBezTo>
                      <a:cubicBezTo>
                        <a:pt x="16" y="4"/>
                        <a:pt x="18" y="7"/>
                        <a:pt x="16" y="9"/>
                      </a:cubicBezTo>
                      <a:close/>
                    </a:path>
                  </a:pathLst>
                </a:custGeom>
                <a:solidFill>
                  <a:srgbClr val="414042"/>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2" name="Freeform 8"/>
                <p:cNvSpPr>
                  <a:spLocks/>
                </p:cNvSpPr>
                <p:nvPr/>
              </p:nvSpPr>
              <p:spPr bwMode="auto">
                <a:xfrm>
                  <a:off x="-1201389" y="2706708"/>
                  <a:ext cx="31983" cy="26240"/>
                </a:xfrm>
                <a:custGeom>
                  <a:avLst/>
                  <a:gdLst>
                    <a:gd name="T0" fmla="*/ 60781425 w 16"/>
                    <a:gd name="T1" fmla="*/ 53147302 h 13"/>
                    <a:gd name="T2" fmla="*/ 26049480 w 16"/>
                    <a:gd name="T3" fmla="*/ 53147302 h 13"/>
                    <a:gd name="T4" fmla="*/ 17367014 w 16"/>
                    <a:gd name="T5" fmla="*/ 48315929 h 13"/>
                    <a:gd name="T6" fmla="*/ 8682465 w 16"/>
                    <a:gd name="T7" fmla="*/ 14494119 h 13"/>
                    <a:gd name="T8" fmla="*/ 8682465 w 16"/>
                    <a:gd name="T9" fmla="*/ 14494119 h 13"/>
                    <a:gd name="T10" fmla="*/ 43414411 w 16"/>
                    <a:gd name="T11" fmla="*/ 9662746 h 13"/>
                    <a:gd name="T12" fmla="*/ 56439150 w 16"/>
                    <a:gd name="T13" fmla="*/ 14494119 h 13"/>
                    <a:gd name="T14" fmla="*/ 60781425 w 16"/>
                    <a:gd name="T15" fmla="*/ 53147302 h 13"/>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3"/>
                    <a:gd name="T26" fmla="*/ 16 w 1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3">
                      <a:moveTo>
                        <a:pt x="14" y="11"/>
                      </a:moveTo>
                      <a:cubicBezTo>
                        <a:pt x="12" y="13"/>
                        <a:pt x="8" y="13"/>
                        <a:pt x="6" y="11"/>
                      </a:cubicBezTo>
                      <a:cubicBezTo>
                        <a:pt x="5" y="11"/>
                        <a:pt x="4" y="10"/>
                        <a:pt x="4" y="10"/>
                      </a:cubicBezTo>
                      <a:cubicBezTo>
                        <a:pt x="1" y="8"/>
                        <a:pt x="0" y="5"/>
                        <a:pt x="2" y="3"/>
                      </a:cubicBezTo>
                      <a:cubicBezTo>
                        <a:pt x="2" y="3"/>
                        <a:pt x="2" y="3"/>
                        <a:pt x="2" y="3"/>
                      </a:cubicBezTo>
                      <a:cubicBezTo>
                        <a:pt x="3" y="0"/>
                        <a:pt x="7" y="0"/>
                        <a:pt x="10" y="2"/>
                      </a:cubicBezTo>
                      <a:cubicBezTo>
                        <a:pt x="11" y="2"/>
                        <a:pt x="12" y="3"/>
                        <a:pt x="13" y="3"/>
                      </a:cubicBezTo>
                      <a:cubicBezTo>
                        <a:pt x="16" y="5"/>
                        <a:pt x="16" y="9"/>
                        <a:pt x="14" y="11"/>
                      </a:cubicBezTo>
                      <a:close/>
                    </a:path>
                  </a:pathLst>
                </a:custGeom>
                <a:solidFill>
                  <a:srgbClr val="414042"/>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3" name="Freeform 9"/>
                <p:cNvSpPr>
                  <a:spLocks/>
                </p:cNvSpPr>
                <p:nvPr/>
              </p:nvSpPr>
              <p:spPr bwMode="auto">
                <a:xfrm>
                  <a:off x="-1166740" y="2732948"/>
                  <a:ext cx="34648" cy="32803"/>
                </a:xfrm>
                <a:custGeom>
                  <a:avLst/>
                  <a:gdLst>
                    <a:gd name="T0" fmla="*/ 61941670 w 16"/>
                    <a:gd name="T1" fmla="*/ 60345391 h 14"/>
                    <a:gd name="T2" fmla="*/ 19058136 w 16"/>
                    <a:gd name="T3" fmla="*/ 51061650 h 14"/>
                    <a:gd name="T4" fmla="*/ 14293056 w 16"/>
                    <a:gd name="T5" fmla="*/ 46418703 h 14"/>
                    <a:gd name="T6" fmla="*/ 14293056 w 16"/>
                    <a:gd name="T7" fmla="*/ 9283741 h 14"/>
                    <a:gd name="T8" fmla="*/ 14293056 w 16"/>
                    <a:gd name="T9" fmla="*/ 9283741 h 14"/>
                    <a:gd name="T10" fmla="*/ 52411511 w 16"/>
                    <a:gd name="T11" fmla="*/ 13926688 h 14"/>
                    <a:gd name="T12" fmla="*/ 61941670 w 16"/>
                    <a:gd name="T13" fmla="*/ 23210429 h 14"/>
                    <a:gd name="T14" fmla="*/ 61941670 w 16"/>
                    <a:gd name="T15" fmla="*/ 60345391 h 14"/>
                    <a:gd name="T16" fmla="*/ 0 60000 65536"/>
                    <a:gd name="T17" fmla="*/ 0 60000 65536"/>
                    <a:gd name="T18" fmla="*/ 0 60000 65536"/>
                    <a:gd name="T19" fmla="*/ 0 60000 65536"/>
                    <a:gd name="T20" fmla="*/ 0 60000 65536"/>
                    <a:gd name="T21" fmla="*/ 0 60000 65536"/>
                    <a:gd name="T22" fmla="*/ 0 60000 65536"/>
                    <a:gd name="T23" fmla="*/ 0 60000 65536"/>
                    <a:gd name="T24" fmla="*/ 0 w 16"/>
                    <a:gd name="T25" fmla="*/ 0 h 14"/>
                    <a:gd name="T26" fmla="*/ 16 w 16"/>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6" h="14">
                      <a:moveTo>
                        <a:pt x="13" y="13"/>
                      </a:moveTo>
                      <a:cubicBezTo>
                        <a:pt x="10" y="14"/>
                        <a:pt x="6" y="14"/>
                        <a:pt x="4" y="11"/>
                      </a:cubicBezTo>
                      <a:cubicBezTo>
                        <a:pt x="4" y="11"/>
                        <a:pt x="3" y="10"/>
                        <a:pt x="3" y="10"/>
                      </a:cubicBezTo>
                      <a:cubicBezTo>
                        <a:pt x="0" y="7"/>
                        <a:pt x="0" y="4"/>
                        <a:pt x="3" y="2"/>
                      </a:cubicBezTo>
                      <a:cubicBezTo>
                        <a:pt x="3" y="2"/>
                        <a:pt x="3" y="2"/>
                        <a:pt x="3" y="2"/>
                      </a:cubicBezTo>
                      <a:cubicBezTo>
                        <a:pt x="5" y="0"/>
                        <a:pt x="9" y="1"/>
                        <a:pt x="11" y="3"/>
                      </a:cubicBezTo>
                      <a:cubicBezTo>
                        <a:pt x="12" y="4"/>
                        <a:pt x="13" y="4"/>
                        <a:pt x="13" y="5"/>
                      </a:cubicBezTo>
                      <a:cubicBezTo>
                        <a:pt x="16" y="8"/>
                        <a:pt x="15" y="11"/>
                        <a:pt x="13" y="13"/>
                      </a:cubicBezTo>
                      <a:close/>
                    </a:path>
                  </a:pathLst>
                </a:custGeom>
                <a:solidFill>
                  <a:srgbClr val="414042"/>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4" name="Freeform 10"/>
                <p:cNvSpPr>
                  <a:spLocks/>
                </p:cNvSpPr>
                <p:nvPr/>
              </p:nvSpPr>
              <p:spPr bwMode="auto">
                <a:xfrm>
                  <a:off x="-1137423" y="2772309"/>
                  <a:ext cx="31983" cy="32803"/>
                </a:xfrm>
                <a:custGeom>
                  <a:avLst/>
                  <a:gdLst>
                    <a:gd name="T0" fmla="*/ 49282350 w 15"/>
                    <a:gd name="T1" fmla="*/ 69154125 h 15"/>
                    <a:gd name="T2" fmla="*/ 13440833 w 15"/>
                    <a:gd name="T3" fmla="*/ 54336495 h 15"/>
                    <a:gd name="T4" fmla="*/ 8959850 w 15"/>
                    <a:gd name="T5" fmla="*/ 44457334 h 15"/>
                    <a:gd name="T6" fmla="*/ 17921817 w 15"/>
                    <a:gd name="T7" fmla="*/ 4940692 h 15"/>
                    <a:gd name="T8" fmla="*/ 17921817 w 15"/>
                    <a:gd name="T9" fmla="*/ 4940692 h 15"/>
                    <a:gd name="T10" fmla="*/ 53763333 w 15"/>
                    <a:gd name="T11" fmla="*/ 19758321 h 15"/>
                    <a:gd name="T12" fmla="*/ 58244317 w 15"/>
                    <a:gd name="T13" fmla="*/ 34578174 h 15"/>
                    <a:gd name="T14" fmla="*/ 49282350 w 15"/>
                    <a:gd name="T15" fmla="*/ 69154125 h 15"/>
                    <a:gd name="T16" fmla="*/ 0 60000 65536"/>
                    <a:gd name="T17" fmla="*/ 0 60000 65536"/>
                    <a:gd name="T18" fmla="*/ 0 60000 65536"/>
                    <a:gd name="T19" fmla="*/ 0 60000 65536"/>
                    <a:gd name="T20" fmla="*/ 0 60000 65536"/>
                    <a:gd name="T21" fmla="*/ 0 60000 65536"/>
                    <a:gd name="T22" fmla="*/ 0 60000 65536"/>
                    <a:gd name="T23" fmla="*/ 0 60000 65536"/>
                    <a:gd name="T24" fmla="*/ 0 w 15"/>
                    <a:gd name="T25" fmla="*/ 0 h 15"/>
                    <a:gd name="T26" fmla="*/ 15 w 15"/>
                    <a:gd name="T27" fmla="*/ 15 h 1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 h="15">
                      <a:moveTo>
                        <a:pt x="11" y="14"/>
                      </a:moveTo>
                      <a:cubicBezTo>
                        <a:pt x="8" y="15"/>
                        <a:pt x="4" y="14"/>
                        <a:pt x="3" y="11"/>
                      </a:cubicBezTo>
                      <a:cubicBezTo>
                        <a:pt x="2" y="10"/>
                        <a:pt x="2" y="9"/>
                        <a:pt x="2" y="9"/>
                      </a:cubicBezTo>
                      <a:cubicBezTo>
                        <a:pt x="0" y="6"/>
                        <a:pt x="1" y="3"/>
                        <a:pt x="4" y="1"/>
                      </a:cubicBezTo>
                      <a:cubicBezTo>
                        <a:pt x="4" y="1"/>
                        <a:pt x="4" y="1"/>
                        <a:pt x="4" y="1"/>
                      </a:cubicBezTo>
                      <a:cubicBezTo>
                        <a:pt x="6" y="0"/>
                        <a:pt x="10" y="1"/>
                        <a:pt x="12" y="4"/>
                      </a:cubicBezTo>
                      <a:cubicBezTo>
                        <a:pt x="12" y="5"/>
                        <a:pt x="13" y="6"/>
                        <a:pt x="13" y="7"/>
                      </a:cubicBezTo>
                      <a:cubicBezTo>
                        <a:pt x="15" y="10"/>
                        <a:pt x="14" y="13"/>
                        <a:pt x="11" y="14"/>
                      </a:cubicBezTo>
                      <a:close/>
                    </a:path>
                  </a:pathLst>
                </a:custGeom>
                <a:solidFill>
                  <a:srgbClr val="414042"/>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85" name="Freeform 11"/>
                <p:cNvSpPr>
                  <a:spLocks noEditPoints="1"/>
                </p:cNvSpPr>
                <p:nvPr/>
              </p:nvSpPr>
              <p:spPr bwMode="auto">
                <a:xfrm>
                  <a:off x="-1443928" y="2654227"/>
                  <a:ext cx="338489" cy="288645"/>
                </a:xfrm>
                <a:custGeom>
                  <a:avLst/>
                  <a:gdLst>
                    <a:gd name="T0" fmla="*/ 219326006 w 158"/>
                    <a:gd name="T1" fmla="*/ 94382891 h 133"/>
                    <a:gd name="T2" fmla="*/ 219326006 w 158"/>
                    <a:gd name="T3" fmla="*/ 42471975 h 133"/>
                    <a:gd name="T4" fmla="*/ 167995123 w 158"/>
                    <a:gd name="T5" fmla="*/ 0 h 133"/>
                    <a:gd name="T6" fmla="*/ 55999094 w 158"/>
                    <a:gd name="T7" fmla="*/ 0 h 133"/>
                    <a:gd name="T8" fmla="*/ 0 w 158"/>
                    <a:gd name="T9" fmla="*/ 42471975 h 133"/>
                    <a:gd name="T10" fmla="*/ 0 w 158"/>
                    <a:gd name="T11" fmla="*/ 136857038 h 133"/>
                    <a:gd name="T12" fmla="*/ 0 w 158"/>
                    <a:gd name="T13" fmla="*/ 146293807 h 133"/>
                    <a:gd name="T14" fmla="*/ 0 w 158"/>
                    <a:gd name="T15" fmla="*/ 585179571 h 133"/>
                    <a:gd name="T16" fmla="*/ 46664832 w 158"/>
                    <a:gd name="T17" fmla="*/ 627651546 h 133"/>
                    <a:gd name="T18" fmla="*/ 695308586 w 158"/>
                    <a:gd name="T19" fmla="*/ 627651546 h 133"/>
                    <a:gd name="T20" fmla="*/ 737307367 w 158"/>
                    <a:gd name="T21" fmla="*/ 585179571 h 133"/>
                    <a:gd name="T22" fmla="*/ 219326006 w 158"/>
                    <a:gd name="T23" fmla="*/ 94382891 h 133"/>
                    <a:gd name="T24" fmla="*/ 191327539 w 158"/>
                    <a:gd name="T25" fmla="*/ 66068241 h 133"/>
                    <a:gd name="T26" fmla="*/ 153994809 w 158"/>
                    <a:gd name="T27" fmla="*/ 89664507 h 133"/>
                    <a:gd name="T28" fmla="*/ 111996028 w 158"/>
                    <a:gd name="T29" fmla="*/ 66068241 h 133"/>
                    <a:gd name="T30" fmla="*/ 111996028 w 158"/>
                    <a:gd name="T31" fmla="*/ 42471975 h 133"/>
                    <a:gd name="T32" fmla="*/ 153994809 w 158"/>
                    <a:gd name="T33" fmla="*/ 18875709 h 133"/>
                    <a:gd name="T34" fmla="*/ 191327539 w 158"/>
                    <a:gd name="T35" fmla="*/ 42471975 h 133"/>
                    <a:gd name="T36" fmla="*/ 191327539 w 158"/>
                    <a:gd name="T37" fmla="*/ 66068241 h 13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8"/>
                    <a:gd name="T58" fmla="*/ 0 h 133"/>
                    <a:gd name="T59" fmla="*/ 158 w 158"/>
                    <a:gd name="T60" fmla="*/ 133 h 13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8" h="133">
                      <a:moveTo>
                        <a:pt x="47" y="20"/>
                      </a:moveTo>
                      <a:cubicBezTo>
                        <a:pt x="47" y="9"/>
                        <a:pt x="47" y="9"/>
                        <a:pt x="47" y="9"/>
                      </a:cubicBezTo>
                      <a:cubicBezTo>
                        <a:pt x="47" y="4"/>
                        <a:pt x="42" y="0"/>
                        <a:pt x="36" y="0"/>
                      </a:cubicBezTo>
                      <a:cubicBezTo>
                        <a:pt x="12" y="0"/>
                        <a:pt x="12" y="0"/>
                        <a:pt x="12" y="0"/>
                      </a:cubicBezTo>
                      <a:cubicBezTo>
                        <a:pt x="5" y="0"/>
                        <a:pt x="0" y="4"/>
                        <a:pt x="0" y="9"/>
                      </a:cubicBezTo>
                      <a:cubicBezTo>
                        <a:pt x="0" y="29"/>
                        <a:pt x="0" y="29"/>
                        <a:pt x="0" y="29"/>
                      </a:cubicBezTo>
                      <a:cubicBezTo>
                        <a:pt x="0" y="31"/>
                        <a:pt x="0" y="31"/>
                        <a:pt x="0" y="31"/>
                      </a:cubicBezTo>
                      <a:cubicBezTo>
                        <a:pt x="0" y="124"/>
                        <a:pt x="0" y="124"/>
                        <a:pt x="0" y="124"/>
                      </a:cubicBezTo>
                      <a:cubicBezTo>
                        <a:pt x="0" y="129"/>
                        <a:pt x="5" y="133"/>
                        <a:pt x="10" y="133"/>
                      </a:cubicBezTo>
                      <a:cubicBezTo>
                        <a:pt x="149" y="133"/>
                        <a:pt x="149" y="133"/>
                        <a:pt x="149" y="133"/>
                      </a:cubicBezTo>
                      <a:cubicBezTo>
                        <a:pt x="154" y="133"/>
                        <a:pt x="158" y="129"/>
                        <a:pt x="158" y="124"/>
                      </a:cubicBezTo>
                      <a:cubicBezTo>
                        <a:pt x="158" y="14"/>
                        <a:pt x="47" y="20"/>
                        <a:pt x="47" y="20"/>
                      </a:cubicBezTo>
                      <a:close/>
                      <a:moveTo>
                        <a:pt x="41" y="14"/>
                      </a:moveTo>
                      <a:cubicBezTo>
                        <a:pt x="41" y="17"/>
                        <a:pt x="37" y="19"/>
                        <a:pt x="33" y="19"/>
                      </a:cubicBezTo>
                      <a:cubicBezTo>
                        <a:pt x="28" y="19"/>
                        <a:pt x="24" y="17"/>
                        <a:pt x="24" y="14"/>
                      </a:cubicBezTo>
                      <a:cubicBezTo>
                        <a:pt x="24" y="9"/>
                        <a:pt x="24" y="9"/>
                        <a:pt x="24" y="9"/>
                      </a:cubicBezTo>
                      <a:cubicBezTo>
                        <a:pt x="24" y="6"/>
                        <a:pt x="28" y="4"/>
                        <a:pt x="33" y="4"/>
                      </a:cubicBezTo>
                      <a:cubicBezTo>
                        <a:pt x="37" y="4"/>
                        <a:pt x="41" y="6"/>
                        <a:pt x="41" y="9"/>
                      </a:cubicBezTo>
                      <a:lnTo>
                        <a:pt x="41" y="14"/>
                      </a:lnTo>
                      <a:close/>
                    </a:path>
                  </a:pathLst>
                </a:custGeom>
                <a:solidFill>
                  <a:srgbClr val="8DC63F"/>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grpSp>
          <p:grpSp>
            <p:nvGrpSpPr>
              <p:cNvPr id="113692" name="Group 28679"/>
              <p:cNvGrpSpPr>
                <a:grpSpLocks/>
              </p:cNvGrpSpPr>
              <p:nvPr/>
            </p:nvGrpSpPr>
            <p:grpSpPr bwMode="auto">
              <a:xfrm>
                <a:off x="593420" y="3172638"/>
                <a:ext cx="117842" cy="88498"/>
                <a:chOff x="-1089025" y="2771775"/>
                <a:chExt cx="258763" cy="193675"/>
              </a:xfrm>
            </p:grpSpPr>
            <p:sp>
              <p:nvSpPr>
                <p:cNvPr id="48175" name="Freeform 12"/>
                <p:cNvSpPr>
                  <a:spLocks noEditPoints="1"/>
                </p:cNvSpPr>
                <p:nvPr/>
              </p:nvSpPr>
              <p:spPr bwMode="auto">
                <a:xfrm>
                  <a:off x="-894215" y="2728724"/>
                  <a:ext cx="45311" cy="111520"/>
                </a:xfrm>
                <a:custGeom>
                  <a:avLst/>
                  <a:gdLst>
                    <a:gd name="T0" fmla="*/ 28837326 w 21"/>
                    <a:gd name="T1" fmla="*/ 9613173 h 21"/>
                    <a:gd name="T2" fmla="*/ 9613173 w 21"/>
                    <a:gd name="T3" fmla="*/ 67285633 h 21"/>
                    <a:gd name="T4" fmla="*/ 72091123 w 21"/>
                    <a:gd name="T5" fmla="*/ 91315277 h 21"/>
                    <a:gd name="T6" fmla="*/ 91315277 w 21"/>
                    <a:gd name="T7" fmla="*/ 28837326 h 21"/>
                    <a:gd name="T8" fmla="*/ 28837326 w 21"/>
                    <a:gd name="T9" fmla="*/ 9613173 h 21"/>
                    <a:gd name="T10" fmla="*/ 57672460 w 21"/>
                    <a:gd name="T11" fmla="*/ 67285633 h 21"/>
                    <a:gd name="T12" fmla="*/ 28837326 w 21"/>
                    <a:gd name="T13" fmla="*/ 57672460 h 21"/>
                    <a:gd name="T14" fmla="*/ 43255989 w 21"/>
                    <a:gd name="T15" fmla="*/ 28837326 h 21"/>
                    <a:gd name="T16" fmla="*/ 72091123 w 21"/>
                    <a:gd name="T17" fmla="*/ 38448307 h 21"/>
                    <a:gd name="T18" fmla="*/ 57672460 w 21"/>
                    <a:gd name="T19" fmla="*/ 67285633 h 2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1"/>
                    <a:gd name="T31" fmla="*/ 0 h 21"/>
                    <a:gd name="T32" fmla="*/ 21 w 21"/>
                    <a:gd name="T33" fmla="*/ 21 h 2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1" h="21">
                      <a:moveTo>
                        <a:pt x="6" y="2"/>
                      </a:moveTo>
                      <a:cubicBezTo>
                        <a:pt x="2" y="4"/>
                        <a:pt x="0" y="10"/>
                        <a:pt x="2" y="14"/>
                      </a:cubicBezTo>
                      <a:cubicBezTo>
                        <a:pt x="4" y="19"/>
                        <a:pt x="10" y="21"/>
                        <a:pt x="15" y="19"/>
                      </a:cubicBezTo>
                      <a:cubicBezTo>
                        <a:pt x="19" y="16"/>
                        <a:pt x="21" y="11"/>
                        <a:pt x="19" y="6"/>
                      </a:cubicBezTo>
                      <a:cubicBezTo>
                        <a:pt x="17" y="1"/>
                        <a:pt x="11" y="0"/>
                        <a:pt x="6" y="2"/>
                      </a:cubicBezTo>
                      <a:close/>
                      <a:moveTo>
                        <a:pt x="12" y="14"/>
                      </a:moveTo>
                      <a:cubicBezTo>
                        <a:pt x="10" y="15"/>
                        <a:pt x="8" y="14"/>
                        <a:pt x="6" y="12"/>
                      </a:cubicBezTo>
                      <a:cubicBezTo>
                        <a:pt x="5" y="10"/>
                        <a:pt x="6" y="7"/>
                        <a:pt x="9" y="6"/>
                      </a:cubicBezTo>
                      <a:cubicBezTo>
                        <a:pt x="11" y="5"/>
                        <a:pt x="13" y="6"/>
                        <a:pt x="15" y="8"/>
                      </a:cubicBezTo>
                      <a:cubicBezTo>
                        <a:pt x="16" y="10"/>
                        <a:pt x="15" y="13"/>
                        <a:pt x="12" y="14"/>
                      </a:cubicBezTo>
                      <a:close/>
                    </a:path>
                  </a:pathLst>
                </a:custGeom>
                <a:solidFill>
                  <a:srgbClr val="006838"/>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76" name="Freeform 13"/>
                <p:cNvSpPr>
                  <a:spLocks noEditPoints="1"/>
                </p:cNvSpPr>
                <p:nvPr/>
              </p:nvSpPr>
              <p:spPr bwMode="auto">
                <a:xfrm>
                  <a:off x="-899546" y="2722162"/>
                  <a:ext cx="55972" cy="124644"/>
                </a:xfrm>
                <a:custGeom>
                  <a:avLst/>
                  <a:gdLst>
                    <a:gd name="T0" fmla="*/ 79241777 w 25"/>
                    <a:gd name="T1" fmla="*/ 104824022 h 24"/>
                    <a:gd name="T2" fmla="*/ 13983843 w 25"/>
                    <a:gd name="T3" fmla="*/ 81000579 h 24"/>
                    <a:gd name="T4" fmla="*/ 37290248 w 25"/>
                    <a:gd name="T5" fmla="*/ 14295376 h 24"/>
                    <a:gd name="T6" fmla="*/ 102548182 w 25"/>
                    <a:gd name="T7" fmla="*/ 38118819 h 24"/>
                    <a:gd name="T8" fmla="*/ 79241777 w 25"/>
                    <a:gd name="T9" fmla="*/ 104824022 h 24"/>
                    <a:gd name="T10" fmla="*/ 41951529 w 25"/>
                    <a:gd name="T11" fmla="*/ 23823443 h 24"/>
                    <a:gd name="T12" fmla="*/ 23306405 w 25"/>
                    <a:gd name="T13" fmla="*/ 76235454 h 24"/>
                    <a:gd name="T14" fmla="*/ 74580496 w 25"/>
                    <a:gd name="T15" fmla="*/ 90530830 h 24"/>
                    <a:gd name="T16" fmla="*/ 93225620 w 25"/>
                    <a:gd name="T17" fmla="*/ 42883944 h 24"/>
                    <a:gd name="T18" fmla="*/ 41951529 w 25"/>
                    <a:gd name="T19" fmla="*/ 23823443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24"/>
                    <a:gd name="T32" fmla="*/ 25 w 25"/>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24">
                      <a:moveTo>
                        <a:pt x="17" y="22"/>
                      </a:moveTo>
                      <a:cubicBezTo>
                        <a:pt x="12" y="24"/>
                        <a:pt x="5" y="22"/>
                        <a:pt x="3" y="17"/>
                      </a:cubicBezTo>
                      <a:cubicBezTo>
                        <a:pt x="0" y="12"/>
                        <a:pt x="2" y="5"/>
                        <a:pt x="8" y="3"/>
                      </a:cubicBezTo>
                      <a:cubicBezTo>
                        <a:pt x="13" y="0"/>
                        <a:pt x="20" y="2"/>
                        <a:pt x="22" y="8"/>
                      </a:cubicBezTo>
                      <a:cubicBezTo>
                        <a:pt x="25" y="13"/>
                        <a:pt x="22" y="19"/>
                        <a:pt x="17" y="22"/>
                      </a:cubicBezTo>
                      <a:close/>
                      <a:moveTo>
                        <a:pt x="9" y="5"/>
                      </a:moveTo>
                      <a:cubicBezTo>
                        <a:pt x="5" y="7"/>
                        <a:pt x="3" y="12"/>
                        <a:pt x="5" y="16"/>
                      </a:cubicBezTo>
                      <a:cubicBezTo>
                        <a:pt x="7" y="20"/>
                        <a:pt x="12" y="21"/>
                        <a:pt x="16" y="19"/>
                      </a:cubicBezTo>
                      <a:cubicBezTo>
                        <a:pt x="20" y="17"/>
                        <a:pt x="22" y="13"/>
                        <a:pt x="20" y="9"/>
                      </a:cubicBezTo>
                      <a:cubicBezTo>
                        <a:pt x="18" y="5"/>
                        <a:pt x="13" y="3"/>
                        <a:pt x="9" y="5"/>
                      </a:cubicBezTo>
                      <a:close/>
                    </a:path>
                  </a:pathLst>
                </a:custGeom>
                <a:solidFill>
                  <a:srgbClr val="006838"/>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77" name="Freeform 14"/>
                <p:cNvSpPr>
                  <a:spLocks noEditPoints="1"/>
                </p:cNvSpPr>
                <p:nvPr/>
              </p:nvSpPr>
              <p:spPr bwMode="auto">
                <a:xfrm>
                  <a:off x="-1088780" y="2702484"/>
                  <a:ext cx="258531" cy="262404"/>
                </a:xfrm>
                <a:custGeom>
                  <a:avLst/>
                  <a:gdLst>
                    <a:gd name="T0" fmla="*/ 525435522 w 120"/>
                    <a:gd name="T1" fmla="*/ 42619381 h 89"/>
                    <a:gd name="T2" fmla="*/ 404539292 w 120"/>
                    <a:gd name="T3" fmla="*/ 0 h 89"/>
                    <a:gd name="T4" fmla="*/ 381289437 w 120"/>
                    <a:gd name="T5" fmla="*/ 0 h 89"/>
                    <a:gd name="T6" fmla="*/ 367339955 w 120"/>
                    <a:gd name="T7" fmla="*/ 4735245 h 89"/>
                    <a:gd name="T8" fmla="*/ 32550229 w 120"/>
                    <a:gd name="T9" fmla="*/ 170477522 h 89"/>
                    <a:gd name="T10" fmla="*/ 13949482 w 120"/>
                    <a:gd name="T11" fmla="*/ 236775304 h 89"/>
                    <a:gd name="T12" fmla="*/ 83696892 w 120"/>
                    <a:gd name="T13" fmla="*/ 388311847 h 89"/>
                    <a:gd name="T14" fmla="*/ 148795194 w 120"/>
                    <a:gd name="T15" fmla="*/ 411990247 h 89"/>
                    <a:gd name="T16" fmla="*/ 483587076 w 120"/>
                    <a:gd name="T17" fmla="*/ 246245794 h 89"/>
                    <a:gd name="T18" fmla="*/ 492887450 w 120"/>
                    <a:gd name="T19" fmla="*/ 236775304 h 89"/>
                    <a:gd name="T20" fmla="*/ 506836932 w 120"/>
                    <a:gd name="T21" fmla="*/ 217834324 h 89"/>
                    <a:gd name="T22" fmla="*/ 548685378 w 120"/>
                    <a:gd name="T23" fmla="*/ 94709251 h 89"/>
                    <a:gd name="T24" fmla="*/ 525435522 w 120"/>
                    <a:gd name="T25" fmla="*/ 42619381 h 89"/>
                    <a:gd name="T26" fmla="*/ 404539292 w 120"/>
                    <a:gd name="T27" fmla="*/ 255718460 h 89"/>
                    <a:gd name="T28" fmla="*/ 167395941 w 120"/>
                    <a:gd name="T29" fmla="*/ 369370867 h 89"/>
                    <a:gd name="T30" fmla="*/ 102297639 w 120"/>
                    <a:gd name="T31" fmla="*/ 345692466 h 89"/>
                    <a:gd name="T32" fmla="*/ 55797928 w 120"/>
                    <a:gd name="T33" fmla="*/ 246245794 h 89"/>
                    <a:gd name="T34" fmla="*/ 79047784 w 120"/>
                    <a:gd name="T35" fmla="*/ 179950188 h 89"/>
                    <a:gd name="T36" fmla="*/ 311542027 w 120"/>
                    <a:gd name="T37" fmla="*/ 61562537 h 89"/>
                    <a:gd name="T38" fmla="*/ 376640328 w 120"/>
                    <a:gd name="T39" fmla="*/ 85238761 h 89"/>
                    <a:gd name="T40" fmla="*/ 427789148 w 120"/>
                    <a:gd name="T41" fmla="*/ 189420678 h 89"/>
                    <a:gd name="T42" fmla="*/ 404539292 w 120"/>
                    <a:gd name="T43" fmla="*/ 255718460 h 89"/>
                    <a:gd name="T44" fmla="*/ 474288859 w 120"/>
                    <a:gd name="T45" fmla="*/ 123122897 h 89"/>
                    <a:gd name="T46" fmla="*/ 446387739 w 120"/>
                    <a:gd name="T47" fmla="*/ 113652407 h 89"/>
                    <a:gd name="T48" fmla="*/ 455688112 w 120"/>
                    <a:gd name="T49" fmla="*/ 85238761 h 89"/>
                    <a:gd name="T50" fmla="*/ 483587076 w 120"/>
                    <a:gd name="T51" fmla="*/ 94709251 h 89"/>
                    <a:gd name="T52" fmla="*/ 474288859 w 120"/>
                    <a:gd name="T53" fmla="*/ 123122897 h 8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20"/>
                    <a:gd name="T82" fmla="*/ 0 h 89"/>
                    <a:gd name="T83" fmla="*/ 120 w 120"/>
                    <a:gd name="T84" fmla="*/ 89 h 8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20" h="89">
                      <a:moveTo>
                        <a:pt x="113" y="9"/>
                      </a:moveTo>
                      <a:cubicBezTo>
                        <a:pt x="87" y="0"/>
                        <a:pt x="87" y="0"/>
                        <a:pt x="87" y="0"/>
                      </a:cubicBezTo>
                      <a:cubicBezTo>
                        <a:pt x="85" y="0"/>
                        <a:pt x="83" y="0"/>
                        <a:pt x="82" y="0"/>
                      </a:cubicBezTo>
                      <a:cubicBezTo>
                        <a:pt x="81" y="0"/>
                        <a:pt x="80" y="1"/>
                        <a:pt x="79" y="1"/>
                      </a:cubicBezTo>
                      <a:cubicBezTo>
                        <a:pt x="7" y="36"/>
                        <a:pt x="7" y="36"/>
                        <a:pt x="7" y="36"/>
                      </a:cubicBezTo>
                      <a:cubicBezTo>
                        <a:pt x="2" y="38"/>
                        <a:pt x="0" y="44"/>
                        <a:pt x="3" y="50"/>
                      </a:cubicBezTo>
                      <a:cubicBezTo>
                        <a:pt x="18" y="82"/>
                        <a:pt x="18" y="82"/>
                        <a:pt x="18" y="82"/>
                      </a:cubicBezTo>
                      <a:cubicBezTo>
                        <a:pt x="21" y="87"/>
                        <a:pt x="27" y="89"/>
                        <a:pt x="32" y="87"/>
                      </a:cubicBezTo>
                      <a:cubicBezTo>
                        <a:pt x="104" y="52"/>
                        <a:pt x="104" y="52"/>
                        <a:pt x="104" y="52"/>
                      </a:cubicBezTo>
                      <a:cubicBezTo>
                        <a:pt x="105" y="52"/>
                        <a:pt x="105" y="51"/>
                        <a:pt x="106" y="50"/>
                      </a:cubicBezTo>
                      <a:cubicBezTo>
                        <a:pt x="108" y="49"/>
                        <a:pt x="109" y="48"/>
                        <a:pt x="109" y="46"/>
                      </a:cubicBezTo>
                      <a:cubicBezTo>
                        <a:pt x="118" y="20"/>
                        <a:pt x="118" y="20"/>
                        <a:pt x="118" y="20"/>
                      </a:cubicBezTo>
                      <a:cubicBezTo>
                        <a:pt x="120" y="16"/>
                        <a:pt x="118" y="11"/>
                        <a:pt x="113" y="9"/>
                      </a:cubicBezTo>
                      <a:close/>
                      <a:moveTo>
                        <a:pt x="87" y="54"/>
                      </a:moveTo>
                      <a:cubicBezTo>
                        <a:pt x="36" y="78"/>
                        <a:pt x="36" y="78"/>
                        <a:pt x="36" y="78"/>
                      </a:cubicBezTo>
                      <a:cubicBezTo>
                        <a:pt x="31" y="81"/>
                        <a:pt x="25" y="78"/>
                        <a:pt x="22" y="73"/>
                      </a:cubicBezTo>
                      <a:cubicBezTo>
                        <a:pt x="12" y="52"/>
                        <a:pt x="12" y="52"/>
                        <a:pt x="12" y="52"/>
                      </a:cubicBezTo>
                      <a:cubicBezTo>
                        <a:pt x="9" y="47"/>
                        <a:pt x="11" y="40"/>
                        <a:pt x="17" y="38"/>
                      </a:cubicBezTo>
                      <a:cubicBezTo>
                        <a:pt x="67" y="13"/>
                        <a:pt x="67" y="13"/>
                        <a:pt x="67" y="13"/>
                      </a:cubicBezTo>
                      <a:cubicBezTo>
                        <a:pt x="72" y="11"/>
                        <a:pt x="79" y="13"/>
                        <a:pt x="81" y="18"/>
                      </a:cubicBezTo>
                      <a:cubicBezTo>
                        <a:pt x="92" y="40"/>
                        <a:pt x="92" y="40"/>
                        <a:pt x="92" y="40"/>
                      </a:cubicBezTo>
                      <a:cubicBezTo>
                        <a:pt x="94" y="45"/>
                        <a:pt x="92" y="51"/>
                        <a:pt x="87" y="54"/>
                      </a:cubicBezTo>
                      <a:close/>
                      <a:moveTo>
                        <a:pt x="102" y="26"/>
                      </a:moveTo>
                      <a:cubicBezTo>
                        <a:pt x="100" y="27"/>
                        <a:pt x="97" y="26"/>
                        <a:pt x="96" y="24"/>
                      </a:cubicBezTo>
                      <a:cubicBezTo>
                        <a:pt x="95" y="22"/>
                        <a:pt x="96" y="19"/>
                        <a:pt x="98" y="18"/>
                      </a:cubicBezTo>
                      <a:cubicBezTo>
                        <a:pt x="101" y="17"/>
                        <a:pt x="103" y="18"/>
                        <a:pt x="104" y="20"/>
                      </a:cubicBezTo>
                      <a:cubicBezTo>
                        <a:pt x="106" y="22"/>
                        <a:pt x="105" y="25"/>
                        <a:pt x="102" y="26"/>
                      </a:cubicBezTo>
                      <a:close/>
                    </a:path>
                  </a:pathLst>
                </a:custGeom>
                <a:solidFill>
                  <a:srgbClr val="006838"/>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sp>
              <p:nvSpPr>
                <p:cNvPr id="48178" name="Freeform 15"/>
                <p:cNvSpPr>
                  <a:spLocks/>
                </p:cNvSpPr>
                <p:nvPr/>
              </p:nvSpPr>
              <p:spPr bwMode="auto">
                <a:xfrm>
                  <a:off x="-1008821" y="2833686"/>
                  <a:ext cx="63967" cy="78721"/>
                </a:xfrm>
                <a:custGeom>
                  <a:avLst/>
                  <a:gdLst>
                    <a:gd name="T0" fmla="*/ 97787161 w 28"/>
                    <a:gd name="T1" fmla="*/ 168082582 h 36"/>
                    <a:gd name="T2" fmla="*/ 88007118 w 28"/>
                    <a:gd name="T3" fmla="*/ 149406979 h 36"/>
                    <a:gd name="T4" fmla="*/ 48893581 w 28"/>
                    <a:gd name="T5" fmla="*/ 158743700 h 36"/>
                    <a:gd name="T6" fmla="*/ 44004665 w 28"/>
                    <a:gd name="T7" fmla="*/ 135400818 h 36"/>
                    <a:gd name="T8" fmla="*/ 83118203 w 28"/>
                    <a:gd name="T9" fmla="*/ 126061936 h 36"/>
                    <a:gd name="T10" fmla="*/ 97787161 w 28"/>
                    <a:gd name="T11" fmla="*/ 102716893 h 36"/>
                    <a:gd name="T12" fmla="*/ 63560328 w 28"/>
                    <a:gd name="T13" fmla="*/ 98047452 h 36"/>
                    <a:gd name="T14" fmla="*/ 9777832 w 28"/>
                    <a:gd name="T15" fmla="*/ 79371850 h 36"/>
                    <a:gd name="T16" fmla="*/ 24446790 w 28"/>
                    <a:gd name="T17" fmla="*/ 28014484 h 36"/>
                    <a:gd name="T18" fmla="*/ 14668959 w 28"/>
                    <a:gd name="T19" fmla="*/ 9338882 h 36"/>
                    <a:gd name="T20" fmla="*/ 34224622 w 28"/>
                    <a:gd name="T21" fmla="*/ 0 h 36"/>
                    <a:gd name="T22" fmla="*/ 44004665 w 28"/>
                    <a:gd name="T23" fmla="*/ 14006162 h 36"/>
                    <a:gd name="T24" fmla="*/ 78229287 w 28"/>
                    <a:gd name="T25" fmla="*/ 9338882 h 36"/>
                    <a:gd name="T26" fmla="*/ 83118203 w 28"/>
                    <a:gd name="T27" fmla="*/ 32681764 h 36"/>
                    <a:gd name="T28" fmla="*/ 48893581 w 28"/>
                    <a:gd name="T29" fmla="*/ 42020645 h 36"/>
                    <a:gd name="T30" fmla="*/ 39113538 w 28"/>
                    <a:gd name="T31" fmla="*/ 60696248 h 36"/>
                    <a:gd name="T32" fmla="*/ 73340371 w 28"/>
                    <a:gd name="T33" fmla="*/ 65365689 h 36"/>
                    <a:gd name="T34" fmla="*/ 127122867 w 28"/>
                    <a:gd name="T35" fmla="*/ 84041291 h 36"/>
                    <a:gd name="T36" fmla="*/ 107564993 w 28"/>
                    <a:gd name="T37" fmla="*/ 140068098 h 36"/>
                    <a:gd name="T38" fmla="*/ 122231740 w 28"/>
                    <a:gd name="T39" fmla="*/ 158743700 h 36"/>
                    <a:gd name="T40" fmla="*/ 97787161 w 28"/>
                    <a:gd name="T41" fmla="*/ 168082582 h 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8"/>
                    <a:gd name="T64" fmla="*/ 0 h 36"/>
                    <a:gd name="T65" fmla="*/ 28 w 28"/>
                    <a:gd name="T66" fmla="*/ 36 h 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8" h="36">
                      <a:moveTo>
                        <a:pt x="20" y="36"/>
                      </a:moveTo>
                      <a:cubicBezTo>
                        <a:pt x="18" y="32"/>
                        <a:pt x="18" y="32"/>
                        <a:pt x="18" y="32"/>
                      </a:cubicBezTo>
                      <a:cubicBezTo>
                        <a:pt x="15" y="34"/>
                        <a:pt x="12" y="34"/>
                        <a:pt x="10" y="34"/>
                      </a:cubicBezTo>
                      <a:cubicBezTo>
                        <a:pt x="9" y="29"/>
                        <a:pt x="9" y="29"/>
                        <a:pt x="9" y="29"/>
                      </a:cubicBezTo>
                      <a:cubicBezTo>
                        <a:pt x="11" y="29"/>
                        <a:pt x="14" y="28"/>
                        <a:pt x="17" y="27"/>
                      </a:cubicBezTo>
                      <a:cubicBezTo>
                        <a:pt x="19" y="26"/>
                        <a:pt x="20" y="24"/>
                        <a:pt x="20" y="22"/>
                      </a:cubicBezTo>
                      <a:cubicBezTo>
                        <a:pt x="19" y="21"/>
                        <a:pt x="17" y="20"/>
                        <a:pt x="13" y="21"/>
                      </a:cubicBezTo>
                      <a:cubicBezTo>
                        <a:pt x="8" y="22"/>
                        <a:pt x="4" y="21"/>
                        <a:pt x="2" y="17"/>
                      </a:cubicBezTo>
                      <a:cubicBezTo>
                        <a:pt x="0" y="13"/>
                        <a:pt x="1" y="9"/>
                        <a:pt x="5" y="6"/>
                      </a:cubicBezTo>
                      <a:cubicBezTo>
                        <a:pt x="3" y="2"/>
                        <a:pt x="3" y="2"/>
                        <a:pt x="3" y="2"/>
                      </a:cubicBezTo>
                      <a:cubicBezTo>
                        <a:pt x="7" y="0"/>
                        <a:pt x="7" y="0"/>
                        <a:pt x="7" y="0"/>
                      </a:cubicBezTo>
                      <a:cubicBezTo>
                        <a:pt x="9" y="3"/>
                        <a:pt x="9" y="3"/>
                        <a:pt x="9" y="3"/>
                      </a:cubicBezTo>
                      <a:cubicBezTo>
                        <a:pt x="12" y="2"/>
                        <a:pt x="14" y="2"/>
                        <a:pt x="16" y="2"/>
                      </a:cubicBezTo>
                      <a:cubicBezTo>
                        <a:pt x="17" y="7"/>
                        <a:pt x="17" y="7"/>
                        <a:pt x="17" y="7"/>
                      </a:cubicBezTo>
                      <a:cubicBezTo>
                        <a:pt x="16" y="7"/>
                        <a:pt x="13" y="7"/>
                        <a:pt x="10" y="9"/>
                      </a:cubicBezTo>
                      <a:cubicBezTo>
                        <a:pt x="7" y="10"/>
                        <a:pt x="7" y="12"/>
                        <a:pt x="8" y="13"/>
                      </a:cubicBezTo>
                      <a:cubicBezTo>
                        <a:pt x="8" y="14"/>
                        <a:pt x="10" y="15"/>
                        <a:pt x="15" y="14"/>
                      </a:cubicBezTo>
                      <a:cubicBezTo>
                        <a:pt x="21" y="13"/>
                        <a:pt x="24" y="14"/>
                        <a:pt x="26" y="18"/>
                      </a:cubicBezTo>
                      <a:cubicBezTo>
                        <a:pt x="28" y="22"/>
                        <a:pt x="27" y="27"/>
                        <a:pt x="22" y="30"/>
                      </a:cubicBezTo>
                      <a:cubicBezTo>
                        <a:pt x="25" y="34"/>
                        <a:pt x="25" y="34"/>
                        <a:pt x="25" y="34"/>
                      </a:cubicBezTo>
                      <a:lnTo>
                        <a:pt x="20" y="36"/>
                      </a:lnTo>
                      <a:close/>
                    </a:path>
                  </a:pathLst>
                </a:custGeom>
                <a:solidFill>
                  <a:srgbClr val="006838"/>
                </a:solidFill>
                <a:ln w="9525">
                  <a:noFill/>
                  <a:round/>
                  <a:headEnd/>
                  <a:tailEnd/>
                </a:ln>
              </p:spPr>
              <p:txBody>
                <a:bodyPr/>
                <a:lstStyle/>
                <a:p>
                  <a:pPr defTabSz="342900" eaLnBrk="1" fontAlgn="auto" hangingPunct="1">
                    <a:spcBef>
                      <a:spcPts val="0"/>
                    </a:spcBef>
                    <a:spcAft>
                      <a:spcPts val="0"/>
                    </a:spcAft>
                    <a:defRPr/>
                  </a:pPr>
                  <a:endParaRPr lang="en-US" sz="1350" kern="0">
                    <a:solidFill>
                      <a:sysClr val="windowText" lastClr="000000"/>
                    </a:solidFill>
                    <a:latin typeface="Arial"/>
                    <a:ea typeface="MS PGothic" panose="020B0600070205080204" pitchFamily="34" charset="-128"/>
                    <a:cs typeface="Arial"/>
                    <a:sym typeface="Arial"/>
                  </a:endParaRPr>
                </a:p>
              </p:txBody>
            </p:sp>
          </p:grpSp>
        </p:grpSp>
      </p:grpSp>
      <p:grpSp>
        <p:nvGrpSpPr>
          <p:cNvPr id="113670" name="Group 10"/>
          <p:cNvGrpSpPr>
            <a:grpSpLocks/>
          </p:cNvGrpSpPr>
          <p:nvPr/>
        </p:nvGrpSpPr>
        <p:grpSpPr bwMode="auto">
          <a:xfrm>
            <a:off x="165104" y="3180217"/>
            <a:ext cx="3649663" cy="1428438"/>
            <a:chOff x="3549169" y="4055585"/>
            <a:chExt cx="4865834" cy="1905068"/>
          </a:xfrm>
        </p:grpSpPr>
        <p:grpSp>
          <p:nvGrpSpPr>
            <p:cNvPr id="113683" name="Group 8"/>
            <p:cNvGrpSpPr>
              <a:grpSpLocks/>
            </p:cNvGrpSpPr>
            <p:nvPr/>
          </p:nvGrpSpPr>
          <p:grpSpPr bwMode="auto">
            <a:xfrm>
              <a:off x="3549169" y="4055585"/>
              <a:ext cx="4865834" cy="1905068"/>
              <a:chOff x="4292245" y="4022215"/>
              <a:chExt cx="4865834" cy="1905068"/>
            </a:xfrm>
          </p:grpSpPr>
          <p:sp>
            <p:nvSpPr>
              <p:cNvPr id="46" name="Rectangle 9"/>
              <p:cNvSpPr>
                <a:spLocks noChangeArrowheads="1"/>
              </p:cNvSpPr>
              <p:nvPr/>
            </p:nvSpPr>
            <p:spPr bwMode="auto">
              <a:xfrm>
                <a:off x="4846768" y="4288983"/>
                <a:ext cx="4311311" cy="1638300"/>
              </a:xfrm>
              <a:prstGeom prst="rect">
                <a:avLst/>
              </a:prstGeom>
              <a:noFill/>
              <a:ln w="9525">
                <a:noFill/>
                <a:miter lim="800000"/>
                <a:headEnd/>
                <a:tailEnd/>
              </a:ln>
            </p:spPr>
            <p:txBody>
              <a:bodyPr lIns="0" tIns="0" rIns="0" bIns="0">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Maximo Asset Management</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Maximo Inventory Insights</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telligent Operations Center</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telligent Transportation</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telligent Water</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telligent City Planning &amp; Operations</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sights Foundation for </a:t>
                </a:r>
                <a:r>
                  <a:rPr lang="en-US" sz="1050" kern="0" dirty="0" smtClean="0">
                    <a:solidFill>
                      <a:schemeClr val="tx1"/>
                    </a:solidFill>
                    <a:latin typeface="Arial"/>
                    <a:ea typeface="MS PGothic" panose="020B0600070205080204" pitchFamily="34" charset="-128"/>
                    <a:cs typeface="Arial"/>
                    <a:sym typeface="Arial"/>
                  </a:rPr>
                  <a:t>Energy</a:t>
                </a:r>
                <a:endParaRPr lang="en-US" sz="1050" kern="0" dirty="0">
                  <a:solidFill>
                    <a:schemeClr val="tx1"/>
                  </a:solidFill>
                  <a:latin typeface="Arial"/>
                  <a:ea typeface="MS PGothic" panose="020B0600070205080204" pitchFamily="34" charset="-128"/>
                  <a:cs typeface="Arial"/>
                  <a:sym typeface="Arial"/>
                </a:endParaRPr>
              </a:p>
            </p:txBody>
          </p:sp>
          <p:sp>
            <p:nvSpPr>
              <p:cNvPr id="47" name="Rectangle 13"/>
              <p:cNvSpPr>
                <a:spLocks noChangeArrowheads="1"/>
              </p:cNvSpPr>
              <p:nvPr/>
            </p:nvSpPr>
            <p:spPr bwMode="auto">
              <a:xfrm>
                <a:off x="4878516" y="4022215"/>
                <a:ext cx="1883685" cy="215499"/>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Lst>
                  <a:defRPr/>
                </a:pPr>
                <a:r>
                  <a:rPr lang="en-US" sz="1050" b="1" kern="0" dirty="0">
                    <a:solidFill>
                      <a:srgbClr val="00649D"/>
                    </a:solidFill>
                    <a:latin typeface="Arial"/>
                    <a:ea typeface="MS PGothic" panose="020B0600070205080204" pitchFamily="34" charset="-128"/>
                    <a:cs typeface="Arial"/>
                    <a:sym typeface="Arial"/>
                  </a:rPr>
                  <a:t>Operations </a:t>
                </a:r>
              </a:p>
            </p:txBody>
          </p:sp>
          <p:sp>
            <p:nvSpPr>
              <p:cNvPr id="48" name="Freeform 10"/>
              <p:cNvSpPr>
                <a:spLocks noChangeAspect="1"/>
              </p:cNvSpPr>
              <p:nvPr/>
            </p:nvSpPr>
            <p:spPr bwMode="auto">
              <a:xfrm>
                <a:off x="4292245" y="4022215"/>
                <a:ext cx="448698" cy="300643"/>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grpSp>
        <p:pic>
          <p:nvPicPr>
            <p:cNvPr id="113684" name="Picture 4" descr="http://www.susanbackmanobm.com/images/services/operations_ic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15618" y="4121025"/>
              <a:ext cx="259531" cy="170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71" name="Group 11"/>
          <p:cNvGrpSpPr>
            <a:grpSpLocks/>
          </p:cNvGrpSpPr>
          <p:nvPr/>
        </p:nvGrpSpPr>
        <p:grpSpPr bwMode="auto">
          <a:xfrm>
            <a:off x="5907088" y="3414716"/>
            <a:ext cx="2647950" cy="888970"/>
            <a:chOff x="5484673" y="3135511"/>
            <a:chExt cx="3531484" cy="1185239"/>
          </a:xfrm>
        </p:grpSpPr>
        <p:grpSp>
          <p:nvGrpSpPr>
            <p:cNvPr id="113678" name="Group 7"/>
            <p:cNvGrpSpPr>
              <a:grpSpLocks/>
            </p:cNvGrpSpPr>
            <p:nvPr/>
          </p:nvGrpSpPr>
          <p:grpSpPr bwMode="auto">
            <a:xfrm>
              <a:off x="5484673" y="3135511"/>
              <a:ext cx="3531484" cy="1185239"/>
              <a:chOff x="3947002" y="2777611"/>
              <a:chExt cx="3531484" cy="1185239"/>
            </a:xfrm>
          </p:grpSpPr>
          <p:sp>
            <p:nvSpPr>
              <p:cNvPr id="48194" name="Rectangle 13"/>
              <p:cNvSpPr>
                <a:spLocks noChangeArrowheads="1"/>
              </p:cNvSpPr>
              <p:nvPr/>
            </p:nvSpPr>
            <p:spPr bwMode="auto">
              <a:xfrm>
                <a:off x="4522879" y="2849574"/>
                <a:ext cx="1882187" cy="215434"/>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Lst>
                  <a:defRPr/>
                </a:pPr>
                <a:r>
                  <a:rPr lang="en-US" sz="1050" b="1" kern="0" dirty="0">
                    <a:solidFill>
                      <a:srgbClr val="00649D"/>
                    </a:solidFill>
                    <a:latin typeface="Arial"/>
                    <a:ea typeface="MS PGothic" panose="020B0600070205080204" pitchFamily="34" charset="-128"/>
                    <a:cs typeface="Arial"/>
                    <a:sym typeface="Arial"/>
                  </a:rPr>
                  <a:t> Engineering</a:t>
                </a:r>
              </a:p>
            </p:txBody>
          </p:sp>
          <p:sp>
            <p:nvSpPr>
              <p:cNvPr id="48195" name="Rectangle 7"/>
              <p:cNvSpPr>
                <a:spLocks noChangeArrowheads="1"/>
              </p:cNvSpPr>
              <p:nvPr/>
            </p:nvSpPr>
            <p:spPr bwMode="auto">
              <a:xfrm>
                <a:off x="4522879" y="3065465"/>
                <a:ext cx="2955607" cy="897385"/>
              </a:xfrm>
              <a:prstGeom prst="rect">
                <a:avLst/>
              </a:prstGeom>
              <a:noFill/>
              <a:ln w="9525">
                <a:noFill/>
                <a:miter lim="800000"/>
                <a:headEnd/>
                <a:tailEnd/>
              </a:ln>
            </p:spPr>
            <p:txBody>
              <a:bodyPr lIns="0" tIns="0" rIns="0" bIns="0">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chemeClr val="tx1"/>
                    </a:solidFill>
                    <a:latin typeface="Arial"/>
                    <a:ea typeface="MS PGothic" panose="020B0600070205080204" pitchFamily="34" charset="-128"/>
                    <a:cs typeface="Arial"/>
                    <a:sym typeface="Arial"/>
                  </a:rPr>
                  <a:t>Managed Continuous Engineering</a:t>
                </a:r>
              </a:p>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chemeClr val="tx1"/>
                    </a:solidFill>
                    <a:latin typeface="Arial"/>
                    <a:ea typeface="MS PGothic" panose="020B0600070205080204" pitchFamily="34" charset="-128"/>
                    <a:cs typeface="Arial"/>
                    <a:sym typeface="Arial"/>
                  </a:rPr>
                  <a:t>Rational DOORS Next Generation </a:t>
                </a:r>
              </a:p>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chemeClr val="tx1"/>
                    </a:solidFill>
                    <a:latin typeface="Arial"/>
                    <a:ea typeface="MS PGothic" panose="020B0600070205080204" pitchFamily="34" charset="-128"/>
                    <a:cs typeface="Arial"/>
                    <a:sym typeface="Arial"/>
                  </a:rPr>
                  <a:t>Continuous Engineering</a:t>
                </a:r>
              </a:p>
              <a:p>
                <a:pPr marL="84535" indent="-84535" defTabSz="310754" eaLnBrk="1" fontAlgn="auto" hangingPunct="1">
                  <a:lnSpc>
                    <a:spcPct val="95000"/>
                  </a:lnSpc>
                  <a:spcBef>
                    <a:spcPts val="150"/>
                  </a:spcBef>
                  <a:spcAft>
                    <a:spcPts val="0"/>
                  </a:spcAft>
                  <a:buClr>
                    <a:srgbClr val="00649D"/>
                  </a:buClr>
                  <a:buFont typeface="Arial" pitchFamily="34" charset="0"/>
                  <a:buChar char="•"/>
                  <a:defRPr/>
                </a:pPr>
                <a:r>
                  <a:rPr lang="en-US" sz="1050" kern="0" dirty="0">
                    <a:solidFill>
                      <a:schemeClr val="tx1"/>
                    </a:solidFill>
                    <a:latin typeface="Arial"/>
                    <a:ea typeface="MS PGothic" panose="020B0600070205080204" pitchFamily="34" charset="-128"/>
                    <a:cs typeface="Arial"/>
                    <a:sym typeface="Arial"/>
                  </a:rPr>
                  <a:t>Internet of Things Workbench </a:t>
                </a:r>
              </a:p>
            </p:txBody>
          </p:sp>
          <p:sp>
            <p:nvSpPr>
              <p:cNvPr id="68" name="Freeform 10"/>
              <p:cNvSpPr>
                <a:spLocks noChangeAspect="1"/>
              </p:cNvSpPr>
              <p:nvPr/>
            </p:nvSpPr>
            <p:spPr bwMode="auto">
              <a:xfrm>
                <a:off x="3947002" y="2777611"/>
                <a:ext cx="436143" cy="302669"/>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grpSp>
        <p:pic>
          <p:nvPicPr>
            <p:cNvPr id="113679" name="Picture 6" descr="http://ts1.mm.bing.net/th?id=JN.KsUfqSOtQcHi60EgqS0%2few&amp;pid=15.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flipV="1">
              <a:off x="5588298" y="3172303"/>
              <a:ext cx="228039" cy="228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3672" name="Group 12"/>
          <p:cNvGrpSpPr>
            <a:grpSpLocks/>
          </p:cNvGrpSpPr>
          <p:nvPr/>
        </p:nvGrpSpPr>
        <p:grpSpPr bwMode="auto">
          <a:xfrm>
            <a:off x="3530600" y="2119837"/>
            <a:ext cx="3682798" cy="2004135"/>
            <a:chOff x="58908" y="3973476"/>
            <a:chExt cx="4910737" cy="2671433"/>
          </a:xfrm>
        </p:grpSpPr>
        <p:sp>
          <p:nvSpPr>
            <p:cNvPr id="44" name="Freeform 10"/>
            <p:cNvSpPr>
              <a:spLocks noChangeAspect="1"/>
            </p:cNvSpPr>
            <p:nvPr/>
          </p:nvSpPr>
          <p:spPr bwMode="auto">
            <a:xfrm>
              <a:off x="58908" y="3973476"/>
              <a:ext cx="446648" cy="374545"/>
            </a:xfrm>
            <a:custGeom>
              <a:avLst/>
              <a:gdLst>
                <a:gd name="T0" fmla="*/ 2147483646 w 950"/>
                <a:gd name="T1" fmla="*/ 2147483646 h 829"/>
                <a:gd name="T2" fmla="*/ 0 w 950"/>
                <a:gd name="T3" fmla="*/ 2147483646 h 829"/>
                <a:gd name="T4" fmla="*/ 2147483646 w 950"/>
                <a:gd name="T5" fmla="*/ 0 h 829"/>
                <a:gd name="T6" fmla="*/ 2147483646 w 950"/>
                <a:gd name="T7" fmla="*/ 0 h 829"/>
                <a:gd name="T8" fmla="*/ 2147483646 w 950"/>
                <a:gd name="T9" fmla="*/ 2147483646 h 829"/>
                <a:gd name="T10" fmla="*/ 2147483646 w 950"/>
                <a:gd name="T11" fmla="*/ 2147483646 h 829"/>
                <a:gd name="T12" fmla="*/ 2147483646 w 950"/>
                <a:gd name="T13" fmla="*/ 2147483646 h 82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50" h="829">
                  <a:moveTo>
                    <a:pt x="236" y="829"/>
                  </a:moveTo>
                  <a:lnTo>
                    <a:pt x="0" y="414"/>
                  </a:lnTo>
                  <a:lnTo>
                    <a:pt x="236" y="0"/>
                  </a:lnTo>
                  <a:lnTo>
                    <a:pt x="714" y="0"/>
                  </a:lnTo>
                  <a:lnTo>
                    <a:pt x="950" y="414"/>
                  </a:lnTo>
                  <a:lnTo>
                    <a:pt x="714" y="829"/>
                  </a:lnTo>
                  <a:lnTo>
                    <a:pt x="236" y="829"/>
                  </a:lnTo>
                  <a:close/>
                </a:path>
              </a:pathLst>
            </a:custGeom>
            <a:solidFill>
              <a:schemeClr val="bg1"/>
            </a:solidFill>
            <a:ln w="25400" cap="flat">
              <a:solidFill>
                <a:srgbClr val="3AA8D3"/>
              </a:solidFill>
              <a:prstDash val="solid"/>
              <a:miter lim="800000"/>
              <a:headEnd/>
              <a:tailEnd/>
            </a:ln>
            <a:effectLst>
              <a:outerShdw blurRad="76200" dist="25401" dir="2700000" algn="tl" rotWithShape="0">
                <a:srgbClr val="000000">
                  <a:alpha val="39998"/>
                </a:srgbClr>
              </a:outerShdw>
            </a:effectLst>
          </p:spPr>
          <p:txBody>
            <a:bodyPr/>
            <a:lstStyle/>
            <a:p>
              <a:pPr>
                <a:defRPr/>
              </a:pPr>
              <a:endParaRPr lang="en-US"/>
            </a:p>
          </p:txBody>
        </p:sp>
        <p:sp>
          <p:nvSpPr>
            <p:cNvPr id="45" name="Rectangle 13"/>
            <p:cNvSpPr>
              <a:spLocks noChangeArrowheads="1"/>
            </p:cNvSpPr>
            <p:nvPr/>
          </p:nvSpPr>
          <p:spPr bwMode="auto">
            <a:xfrm>
              <a:off x="630447" y="4056002"/>
              <a:ext cx="2277691" cy="215384"/>
            </a:xfrm>
            <a:prstGeom prst="rect">
              <a:avLst/>
            </a:prstGeom>
            <a:noFill/>
            <a:ln w="9525">
              <a:noFill/>
              <a:miter lim="800000"/>
              <a:headEnd/>
              <a:tailEnd/>
            </a:ln>
          </p:spPr>
          <p:txBody>
            <a:bodyPr lIns="0" tIns="0" rIns="0" bIns="0">
              <a:spAutoFit/>
            </a:bodyPr>
            <a:lstStyle/>
            <a:p>
              <a:pPr defTabSz="310754" eaLnBrk="1" fontAlgn="auto" hangingPunct="1">
                <a:spcBef>
                  <a:spcPts val="0"/>
                </a:spcBef>
                <a:spcAft>
                  <a:spcPts val="0"/>
                </a:spcAft>
                <a:tabLst>
                  <a:tab pos="492919" algn="l"/>
                  <a:tab pos="984647" algn="l"/>
                  <a:tab pos="1477566" algn="l"/>
                </a:tabLst>
                <a:defRPr/>
              </a:pPr>
              <a:r>
                <a:rPr lang="en-US" sz="1050" b="1" kern="0" dirty="0">
                  <a:solidFill>
                    <a:srgbClr val="00649D"/>
                  </a:solidFill>
                  <a:latin typeface="Arial"/>
                  <a:ea typeface="MS PGothic" panose="020B0600070205080204" pitchFamily="34" charset="-128"/>
                  <a:cs typeface="Arial"/>
                  <a:sym typeface="Arial"/>
                </a:rPr>
                <a:t> </a:t>
              </a:r>
              <a:r>
                <a:rPr lang="en-US" sz="1050" b="1" kern="0" dirty="0" smtClean="0">
                  <a:solidFill>
                    <a:srgbClr val="00649D"/>
                  </a:solidFill>
                  <a:latin typeface="Arial"/>
                  <a:ea typeface="MS PGothic" panose="020B0600070205080204" pitchFamily="34" charset="-128"/>
                  <a:cs typeface="Arial"/>
                  <a:sym typeface="Arial"/>
                </a:rPr>
                <a:t>CDS Platform </a:t>
              </a:r>
              <a:endParaRPr lang="en-US" sz="1050" b="1" kern="0" dirty="0">
                <a:solidFill>
                  <a:srgbClr val="00649D"/>
                </a:solidFill>
                <a:latin typeface="Arial"/>
                <a:ea typeface="MS PGothic" panose="020B0600070205080204" pitchFamily="34" charset="-128"/>
                <a:cs typeface="Arial"/>
                <a:sym typeface="Arial"/>
              </a:endParaRPr>
            </a:p>
          </p:txBody>
        </p:sp>
        <p:sp>
          <p:nvSpPr>
            <p:cNvPr id="10" name="Rectangle 9"/>
            <p:cNvSpPr/>
            <p:nvPr/>
          </p:nvSpPr>
          <p:spPr>
            <a:xfrm>
              <a:off x="397329" y="4243127"/>
              <a:ext cx="4572316" cy="2401782"/>
            </a:xfrm>
            <a:prstGeom prst="rect">
              <a:avLst/>
            </a:prstGeom>
          </p:spPr>
          <p:txBody>
            <a:bodyPr>
              <a:spAutoFit/>
            </a:bodyPr>
            <a:lstStyle/>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Cloudant</a:t>
              </a:r>
              <a:endParaRPr lang="en-US" sz="1050" kern="0" dirty="0">
                <a:solidFill>
                  <a:schemeClr val="tx1"/>
                </a:solidFill>
                <a:latin typeface="Arial"/>
                <a:ea typeface="MS PGothic" panose="020B0600070205080204" pitchFamily="34" charset="-128"/>
                <a:cs typeface="Arial"/>
                <a:sym typeface="Arial"/>
              </a:endParaRP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Informix</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dashDB</a:t>
              </a:r>
              <a:endParaRPr lang="en-US" sz="1050" kern="0" dirty="0">
                <a:solidFill>
                  <a:schemeClr val="tx1"/>
                </a:solidFill>
                <a:latin typeface="Arial"/>
                <a:ea typeface="MS PGothic" panose="020B0600070205080204" pitchFamily="34" charset="-128"/>
                <a:cs typeface="Arial"/>
                <a:sym typeface="Arial"/>
              </a:endParaRP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BigInsights</a:t>
              </a:r>
              <a:endParaRPr lang="en-US" sz="1050" kern="0" dirty="0">
                <a:solidFill>
                  <a:schemeClr val="tx1"/>
                </a:solidFill>
                <a:latin typeface="Arial"/>
                <a:ea typeface="MS PGothic" panose="020B0600070205080204" pitchFamily="34" charset="-128"/>
                <a:cs typeface="Arial"/>
                <a:sym typeface="Arial"/>
              </a:endParaRP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err="1">
                  <a:solidFill>
                    <a:schemeClr val="tx1"/>
                  </a:solidFill>
                  <a:latin typeface="Arial"/>
                  <a:ea typeface="MS PGothic" panose="020B0600070205080204" pitchFamily="34" charset="-128"/>
                  <a:cs typeface="Arial"/>
                  <a:sym typeface="Arial"/>
                </a:rPr>
                <a:t>DataWorks</a:t>
              </a:r>
              <a:endParaRPr lang="en-US" sz="1050" kern="0" dirty="0">
                <a:solidFill>
                  <a:schemeClr val="tx1"/>
                </a:solidFill>
                <a:latin typeface="Arial"/>
                <a:ea typeface="MS PGothic" panose="020B0600070205080204" pitchFamily="34" charset="-128"/>
                <a:cs typeface="Arial"/>
                <a:sym typeface="Arial"/>
              </a:endParaRP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DB2 on Cloud</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SQL Database</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Analytics for Apache Spark</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r>
                <a:rPr lang="en-US" sz="1050" kern="0" dirty="0">
                  <a:solidFill>
                    <a:schemeClr val="tx1"/>
                  </a:solidFill>
                  <a:latin typeface="Arial"/>
                  <a:ea typeface="MS PGothic" panose="020B0600070205080204" pitchFamily="34" charset="-128"/>
                  <a:cs typeface="Arial"/>
                  <a:sym typeface="Arial"/>
                </a:rPr>
                <a:t>Content Fabric</a:t>
              </a:r>
            </a:p>
            <a:p>
              <a:pPr marL="84535" indent="-84535" defTabSz="310754" eaLnBrk="1" fontAlgn="auto" hangingPunct="1">
                <a:lnSpc>
                  <a:spcPct val="95000"/>
                </a:lnSpc>
                <a:spcBef>
                  <a:spcPts val="150"/>
                </a:spcBef>
                <a:spcAft>
                  <a:spcPts val="0"/>
                </a:spcAft>
                <a:buClr>
                  <a:srgbClr val="00649D"/>
                </a:buClr>
                <a:buFont typeface="Arial" pitchFamily="34" charset="0"/>
                <a:buChar char="•"/>
                <a:tabLst>
                  <a:tab pos="1970485" algn="l"/>
                </a:tabLst>
                <a:defRPr/>
              </a:pPr>
              <a:endParaRPr lang="en-US" sz="1050" kern="0" dirty="0">
                <a:solidFill>
                  <a:schemeClr val="tx1"/>
                </a:solidFill>
                <a:latin typeface="Arial"/>
                <a:ea typeface="MS PGothic" panose="020B0600070205080204" pitchFamily="34" charset="-128"/>
                <a:cs typeface="Arial"/>
                <a:sym typeface="Arial"/>
              </a:endParaRPr>
            </a:p>
          </p:txBody>
        </p:sp>
        <p:pic>
          <p:nvPicPr>
            <p:cNvPr id="113677" name="Picture 10" descr="http://www.attractyourmrright.com/wp-content/uploads/2012/07/bigstock-Bright-idea-icon-6048647.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66733" y="4046309"/>
              <a:ext cx="262963" cy="2518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Title 2"/>
          <p:cNvSpPr>
            <a:spLocks noGrp="1"/>
          </p:cNvSpPr>
          <p:nvPr>
            <p:ph type="title"/>
          </p:nvPr>
        </p:nvSpPr>
        <p:spPr/>
        <p:txBody>
          <a:bodyPr/>
          <a:lstStyle/>
          <a:p>
            <a:r>
              <a:rPr lang="en-US" dirty="0">
                <a:solidFill>
                  <a:srgbClr val="000000"/>
                </a:solidFill>
                <a:cs typeface="Helvetica Neue" charset="0"/>
              </a:rPr>
              <a:t>A complete and growing </a:t>
            </a:r>
            <a:r>
              <a:rPr lang="en-US" dirty="0" smtClean="0">
                <a:solidFill>
                  <a:srgbClr val="000000"/>
                </a:solidFill>
                <a:cs typeface="Helvetica Neue" charset="0"/>
              </a:rPr>
              <a:t>Portfolio</a:t>
            </a:r>
            <a:endParaRPr lang="en-US" dirty="0">
              <a:solidFill>
                <a:srgbClr val="000000"/>
              </a:solidFill>
            </a:endParaRPr>
          </a:p>
        </p:txBody>
      </p:sp>
      <p:sp>
        <p:nvSpPr>
          <p:cNvPr id="7" name="Oval 6"/>
          <p:cNvSpPr/>
          <p:nvPr/>
        </p:nvSpPr>
        <p:spPr>
          <a:xfrm>
            <a:off x="3081045" y="1774900"/>
            <a:ext cx="2721268" cy="2524207"/>
          </a:xfrm>
          <a:prstGeom prst="ellipse">
            <a:avLst/>
          </a:prstGeom>
          <a:noFill/>
          <a:ln w="25400" cap="flat">
            <a:solidFill>
              <a:srgbClr val="34B1EC"/>
            </a:solidFill>
            <a:prstDash val="solid"/>
            <a:bevel/>
          </a:ln>
          <a:effectLst>
            <a:outerShdw blurRad="38100" dist="23000" dir="5400000" rotWithShape="0">
              <a:srgbClr val="000000">
                <a:alpha val="35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4572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Helvetica Neue"/>
            </a:endParaRPr>
          </a:p>
        </p:txBody>
      </p:sp>
    </p:spTree>
    <p:extLst>
      <p:ext uri="{BB962C8B-B14F-4D97-AF65-F5344CB8AC3E}">
        <p14:creationId xmlns:p14="http://schemas.microsoft.com/office/powerpoint/2010/main" val="2000386167"/>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auto">
          <a:xfrm>
            <a:off x="79640" y="1718544"/>
            <a:ext cx="9002713" cy="166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hlink"/>
                </a:solidFill>
                <a:latin typeface="Arial" charset="0"/>
                <a:ea typeface="ＭＳ Ｐゴシック" charset="0"/>
                <a:cs typeface="ＭＳ Ｐゴシック" charset="0"/>
              </a:defRPr>
            </a:lvl1pPr>
            <a:lvl2pPr marL="742950" indent="-285750">
              <a:defRPr sz="2200">
                <a:solidFill>
                  <a:schemeClr val="hlink"/>
                </a:solidFill>
                <a:latin typeface="Arial" charset="0"/>
                <a:ea typeface="ＭＳ Ｐゴシック" charset="0"/>
              </a:defRPr>
            </a:lvl2pPr>
            <a:lvl3pPr marL="1143000" indent="-228600">
              <a:defRPr sz="2200">
                <a:solidFill>
                  <a:schemeClr val="hlink"/>
                </a:solidFill>
                <a:latin typeface="Arial" charset="0"/>
                <a:ea typeface="ＭＳ Ｐゴシック" charset="0"/>
              </a:defRPr>
            </a:lvl3pPr>
            <a:lvl4pPr marL="1600200" indent="-228600">
              <a:defRPr sz="2200">
                <a:solidFill>
                  <a:schemeClr val="hlink"/>
                </a:solidFill>
                <a:latin typeface="Arial" charset="0"/>
                <a:ea typeface="ＭＳ Ｐゴシック" charset="0"/>
              </a:defRPr>
            </a:lvl4pPr>
            <a:lvl5pPr marL="2057400" indent="-228600">
              <a:defRPr sz="2200">
                <a:solidFill>
                  <a:schemeClr val="hlink"/>
                </a:solidFill>
                <a:latin typeface="Arial" charset="0"/>
                <a:ea typeface="ＭＳ Ｐゴシック" charset="0"/>
              </a:defRPr>
            </a:lvl5pPr>
            <a:lvl6pPr marL="2514600" indent="-228600" eaLnBrk="0" fontAlgn="base" hangingPunct="0">
              <a:spcBef>
                <a:spcPct val="0"/>
              </a:spcBef>
              <a:spcAft>
                <a:spcPct val="0"/>
              </a:spcAft>
              <a:defRPr sz="2200">
                <a:solidFill>
                  <a:schemeClr val="hlink"/>
                </a:solidFill>
                <a:latin typeface="Arial" charset="0"/>
                <a:ea typeface="ＭＳ Ｐゴシック" charset="0"/>
              </a:defRPr>
            </a:lvl6pPr>
            <a:lvl7pPr marL="2971800" indent="-228600" eaLnBrk="0" fontAlgn="base" hangingPunct="0">
              <a:spcBef>
                <a:spcPct val="0"/>
              </a:spcBef>
              <a:spcAft>
                <a:spcPct val="0"/>
              </a:spcAft>
              <a:defRPr sz="2200">
                <a:solidFill>
                  <a:schemeClr val="hlink"/>
                </a:solidFill>
                <a:latin typeface="Arial" charset="0"/>
                <a:ea typeface="ＭＳ Ｐゴシック" charset="0"/>
              </a:defRPr>
            </a:lvl7pPr>
            <a:lvl8pPr marL="3429000" indent="-228600" eaLnBrk="0" fontAlgn="base" hangingPunct="0">
              <a:spcBef>
                <a:spcPct val="0"/>
              </a:spcBef>
              <a:spcAft>
                <a:spcPct val="0"/>
              </a:spcAft>
              <a:defRPr sz="2200">
                <a:solidFill>
                  <a:schemeClr val="hlink"/>
                </a:solidFill>
                <a:latin typeface="Arial" charset="0"/>
                <a:ea typeface="ＭＳ Ｐゴシック" charset="0"/>
              </a:defRPr>
            </a:lvl8pPr>
            <a:lvl9pPr marL="3886200" indent="-228600" eaLnBrk="0" fontAlgn="base" hangingPunct="0">
              <a:spcBef>
                <a:spcPct val="0"/>
              </a:spcBef>
              <a:spcAft>
                <a:spcPct val="0"/>
              </a:spcAft>
              <a:defRPr sz="2200">
                <a:solidFill>
                  <a:schemeClr val="hlink"/>
                </a:solidFill>
                <a:latin typeface="Arial" charset="0"/>
                <a:ea typeface="ＭＳ Ｐゴシック" charset="0"/>
              </a:defRPr>
            </a:lvl9pPr>
          </a:lstStyle>
          <a:p>
            <a:pPr algn="ctr">
              <a:spcBef>
                <a:spcPts val="300"/>
              </a:spcBef>
              <a:buClr>
                <a:srgbClr val="000000"/>
              </a:buClr>
              <a:buSzPct val="100000"/>
              <a:buFont typeface="Wingdings" charset="0"/>
              <a:buNone/>
            </a:pPr>
            <a:r>
              <a:rPr lang="en-US" sz="6000" b="1" dirty="0" smtClean="0">
                <a:solidFill>
                  <a:srgbClr val="1673B2"/>
                </a:solidFill>
                <a:cs typeface="Arial" charset="0"/>
                <a:sym typeface="Arial" charset="0"/>
              </a:rPr>
              <a:t>Is my company ready for the cloud?</a:t>
            </a:r>
            <a:endParaRPr lang="en-US" sz="6000" b="1" dirty="0">
              <a:solidFill>
                <a:srgbClr val="1673B2"/>
              </a:solidFill>
              <a:cs typeface="Arial" charset="0"/>
              <a:sym typeface="Arial" charset="0"/>
            </a:endParaRPr>
          </a:p>
        </p:txBody>
      </p:sp>
    </p:spTree>
    <p:extLst>
      <p:ext uri="{BB962C8B-B14F-4D97-AF65-F5344CB8AC3E}">
        <p14:creationId xmlns:p14="http://schemas.microsoft.com/office/powerpoint/2010/main" val="938323034"/>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p:cNvPicPr>
          <p:nvPr/>
        </p:nvPicPr>
        <p:blipFill>
          <a:blip r:embed="rId2">
            <a:extLst>
              <a:ext uri="{28A0092B-C50C-407E-A947-70E740481C1C}">
                <a14:useLocalDpi xmlns:a14="http://schemas.microsoft.com/office/drawing/2010/main" val="0"/>
              </a:ext>
            </a:extLst>
          </a:blip>
          <a:srcRect t="1170" b="3259"/>
          <a:stretch>
            <a:fillRect/>
          </a:stretch>
        </p:blipFill>
        <p:spPr bwMode="auto">
          <a:xfrm>
            <a:off x="0" y="1018826"/>
            <a:ext cx="9144000" cy="3211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rot="591873">
            <a:off x="1876017" y="522422"/>
            <a:ext cx="4815060" cy="4124206"/>
          </a:xfrm>
          <a:prstGeom prst="rect">
            <a:avLst/>
          </a:prstGeom>
          <a:noFill/>
          <a:ln>
            <a:noFill/>
          </a:ln>
          <a:scene3d>
            <a:camera prst="perspectiveLeft" fov="3600000">
              <a:rot lat="21120000" lon="720000" rev="0"/>
            </a:camera>
            <a:lightRig rig="threePt" dir="t"/>
          </a:scene3d>
        </p:spPr>
        <p:txBody>
          <a:bodyPr lIns="2286000" tIns="822960" rIns="365760" bIns="1188720">
            <a:spAutoFit/>
          </a:bodyPr>
          <a:lstStyle/>
          <a:p>
            <a:pPr>
              <a:defRPr/>
            </a:pPr>
            <a:r>
              <a:rPr lang="en-US" sz="4400" dirty="0" smtClean="0">
                <a:solidFill>
                  <a:srgbClr val="000000"/>
                </a:solidFill>
                <a:ea typeface="MS PGothic" charset="0"/>
                <a:cs typeface="MS PGothic" charset="0"/>
              </a:rPr>
              <a:t>4.2 </a:t>
            </a:r>
            <a:r>
              <a:rPr lang="en-US" sz="4400" dirty="0">
                <a:solidFill>
                  <a:srgbClr val="000000"/>
                </a:solidFill>
                <a:ea typeface="MS PGothic" charset="0"/>
                <a:cs typeface="MS PGothic" charset="0"/>
              </a:rPr>
              <a:t>Billion</a:t>
            </a:r>
          </a:p>
          <a:p>
            <a:pPr>
              <a:defRPr/>
            </a:pPr>
            <a:r>
              <a:rPr lang="en-US" sz="1600" dirty="0">
                <a:solidFill>
                  <a:srgbClr val="000000"/>
                </a:solidFill>
                <a:ea typeface="MS PGothic" charset="0"/>
                <a:cs typeface="MS PGothic" charset="0"/>
              </a:rPr>
              <a:t> </a:t>
            </a:r>
            <a:br>
              <a:rPr lang="en-US" sz="1600" dirty="0">
                <a:solidFill>
                  <a:srgbClr val="000000"/>
                </a:solidFill>
                <a:ea typeface="MS PGothic" charset="0"/>
                <a:cs typeface="MS PGothic" charset="0"/>
              </a:rPr>
            </a:br>
            <a:r>
              <a:rPr lang="en-US" sz="1600" dirty="0" smtClean="0">
                <a:solidFill>
                  <a:srgbClr val="000000"/>
                </a:solidFill>
                <a:ea typeface="MS PGothic" charset="0"/>
                <a:cs typeface="MS PGothic" charset="0"/>
              </a:rPr>
              <a:t>2015 Cloud Market in Australia</a:t>
            </a:r>
            <a:endParaRPr lang="en-US" sz="1050" dirty="0">
              <a:solidFill>
                <a:srgbClr val="000000"/>
              </a:solidFill>
              <a:ea typeface="MS PGothic" charset="0"/>
              <a:cs typeface="MS PGothic" charset="0"/>
            </a:endParaRPr>
          </a:p>
        </p:txBody>
      </p:sp>
      <p:pic>
        <p:nvPicPr>
          <p:cNvPr id="4" name="Picture 2"/>
          <p:cNvPicPr>
            <a:picLocks noChangeAspect="1" noChangeArrowheads="1"/>
          </p:cNvPicPr>
          <p:nvPr/>
        </p:nvPicPr>
        <p:blipFill>
          <a:blip r:embed="rId3" cstate="print">
            <a:duotone>
              <a:prstClr val="black"/>
              <a:srgbClr val="108BFF">
                <a:tint val="45000"/>
                <a:satMod val="400000"/>
              </a:srgbClr>
            </a:duotone>
            <a:alphaModFix/>
            <a:extLst>
              <a:ext uri="{28A0092B-C50C-407E-A947-70E740481C1C}">
                <a14:useLocalDpi xmlns:a14="http://schemas.microsoft.com/office/drawing/2010/main" val="0"/>
              </a:ext>
            </a:extLst>
          </a:blip>
          <a:stretch>
            <a:fillRect/>
          </a:stretch>
        </p:blipFill>
        <p:spPr bwMode="auto">
          <a:xfrm rot="1403250">
            <a:off x="2624218" y="1760338"/>
            <a:ext cx="1326174" cy="783098"/>
          </a:xfrm>
          <a:prstGeom prst="rect">
            <a:avLst/>
          </a:prstGeom>
          <a:noFill/>
          <a:ln>
            <a:noFill/>
          </a:ln>
          <a:scene3d>
            <a:camera prst="perspectiveLeft" fov="2400000">
              <a:rot lat="21119998" lon="720000" rev="600000"/>
            </a:camera>
            <a:lightRig rig="threePt" dir="t"/>
          </a:scene3d>
          <a:extLst/>
        </p:spPr>
      </p:pic>
    </p:spTree>
    <p:extLst>
      <p:ext uri="{BB962C8B-B14F-4D97-AF65-F5344CB8AC3E}">
        <p14:creationId xmlns:p14="http://schemas.microsoft.com/office/powerpoint/2010/main" val="1918897536"/>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p:cNvPicPr>
            <a:picLocks noChangeAspect="1"/>
          </p:cNvPicPr>
          <p:nvPr/>
        </p:nvPicPr>
        <p:blipFill>
          <a:blip r:embed="rId2">
            <a:extLst>
              <a:ext uri="{28A0092B-C50C-407E-A947-70E740481C1C}">
                <a14:useLocalDpi xmlns:a14="http://schemas.microsoft.com/office/drawing/2010/main" val="0"/>
              </a:ext>
            </a:extLst>
          </a:blip>
          <a:srcRect t="1170" b="3259"/>
          <a:stretch>
            <a:fillRect/>
          </a:stretch>
        </p:blipFill>
        <p:spPr bwMode="auto">
          <a:xfrm>
            <a:off x="0" y="989420"/>
            <a:ext cx="9144000" cy="3211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rot="541173">
            <a:off x="1758653" y="530874"/>
            <a:ext cx="4927879" cy="3847207"/>
          </a:xfrm>
          <a:prstGeom prst="rect">
            <a:avLst/>
          </a:prstGeom>
          <a:noFill/>
          <a:ln>
            <a:noFill/>
          </a:ln>
          <a:scene3d>
            <a:camera prst="perspectiveLeft" fov="3600000">
              <a:rot lat="21120000" lon="720000" rev="0"/>
            </a:camera>
            <a:lightRig rig="threePt" dir="t"/>
          </a:scene3d>
        </p:spPr>
        <p:txBody>
          <a:bodyPr lIns="2286000" tIns="822960" rIns="365760" bIns="1188720">
            <a:spAutoFit/>
          </a:bodyPr>
          <a:lstStyle/>
          <a:p>
            <a:pPr>
              <a:defRPr/>
            </a:pPr>
            <a:r>
              <a:rPr lang="en-US" sz="5400" dirty="0">
                <a:solidFill>
                  <a:srgbClr val="000000"/>
                </a:solidFill>
                <a:ea typeface="MS PGothic" charset="0"/>
                <a:cs typeface="MS PGothic" charset="0"/>
              </a:rPr>
              <a:t>72%</a:t>
            </a:r>
          </a:p>
          <a:p>
            <a:pPr>
              <a:defRPr/>
            </a:pPr>
            <a:endParaRPr lang="en-US" sz="1600" dirty="0">
              <a:solidFill>
                <a:srgbClr val="000000"/>
              </a:solidFill>
              <a:ea typeface="MS PGothic" charset="0"/>
              <a:cs typeface="MS PGothic" charset="0"/>
            </a:endParaRPr>
          </a:p>
          <a:p>
            <a:pPr>
              <a:defRPr/>
            </a:pPr>
            <a:r>
              <a:rPr lang="en-US" sz="1600" dirty="0">
                <a:solidFill>
                  <a:srgbClr val="000000"/>
                </a:solidFill>
                <a:ea typeface="MS PGothic" charset="0"/>
                <a:cs typeface="MS PGothic" charset="0"/>
              </a:rPr>
              <a:t>Of business leaders say cloud will be vital to their success by next year  </a:t>
            </a:r>
            <a:endParaRPr lang="en-US" sz="1050" dirty="0">
              <a:solidFill>
                <a:srgbClr val="000000"/>
              </a:solidFill>
              <a:ea typeface="MS PGothic" charset="0"/>
              <a:cs typeface="MS PGothic" charset="0"/>
            </a:endParaRPr>
          </a:p>
        </p:txBody>
      </p:sp>
      <p:pic>
        <p:nvPicPr>
          <p:cNvPr id="4" name="Picture 2"/>
          <p:cNvPicPr>
            <a:picLocks noChangeAspect="1" noChangeArrowheads="1"/>
          </p:cNvPicPr>
          <p:nvPr/>
        </p:nvPicPr>
        <p:blipFill>
          <a:blip r:embed="rId3" cstate="print">
            <a:duotone>
              <a:prstClr val="black"/>
              <a:srgbClr val="108BFF">
                <a:tint val="45000"/>
                <a:satMod val="400000"/>
              </a:srgbClr>
            </a:duotone>
            <a:alphaModFix/>
            <a:extLst>
              <a:ext uri="{28A0092B-C50C-407E-A947-70E740481C1C}">
                <a14:useLocalDpi xmlns:a14="http://schemas.microsoft.com/office/drawing/2010/main" val="0"/>
              </a:ext>
            </a:extLst>
          </a:blip>
          <a:stretch>
            <a:fillRect/>
          </a:stretch>
        </p:blipFill>
        <p:spPr bwMode="auto">
          <a:xfrm rot="1380373">
            <a:off x="2624218" y="1730931"/>
            <a:ext cx="1326174" cy="783098"/>
          </a:xfrm>
          <a:prstGeom prst="rect">
            <a:avLst/>
          </a:prstGeom>
          <a:noFill/>
          <a:ln>
            <a:noFill/>
          </a:ln>
          <a:scene3d>
            <a:camera prst="perspectiveLeft" fov="2400000">
              <a:rot lat="21119998" lon="720000" rev="600000"/>
            </a:camera>
            <a:lightRig rig="threePt" dir="t"/>
          </a:scene3d>
          <a:extLst/>
        </p:spPr>
      </p:pic>
    </p:spTree>
    <p:extLst>
      <p:ext uri="{BB962C8B-B14F-4D97-AF65-F5344CB8AC3E}">
        <p14:creationId xmlns:p14="http://schemas.microsoft.com/office/powerpoint/2010/main" val="3320992470"/>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auto">
          <a:xfrm>
            <a:off x="-98637" y="1642346"/>
            <a:ext cx="9336088" cy="2608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hlink"/>
                </a:solidFill>
                <a:latin typeface="Arial" charset="0"/>
                <a:ea typeface="ＭＳ Ｐゴシック" charset="0"/>
                <a:cs typeface="ＭＳ Ｐゴシック" charset="0"/>
              </a:defRPr>
            </a:lvl1pPr>
            <a:lvl2pPr marL="742950" indent="-285750">
              <a:defRPr sz="2200">
                <a:solidFill>
                  <a:schemeClr val="hlink"/>
                </a:solidFill>
                <a:latin typeface="Arial" charset="0"/>
                <a:ea typeface="ＭＳ Ｐゴシック" charset="0"/>
              </a:defRPr>
            </a:lvl2pPr>
            <a:lvl3pPr marL="1143000" indent="-228600">
              <a:defRPr sz="2200">
                <a:solidFill>
                  <a:schemeClr val="hlink"/>
                </a:solidFill>
                <a:latin typeface="Arial" charset="0"/>
                <a:ea typeface="ＭＳ Ｐゴシック" charset="0"/>
              </a:defRPr>
            </a:lvl3pPr>
            <a:lvl4pPr marL="1600200" indent="-228600">
              <a:defRPr sz="2200">
                <a:solidFill>
                  <a:schemeClr val="hlink"/>
                </a:solidFill>
                <a:latin typeface="Arial" charset="0"/>
                <a:ea typeface="ＭＳ Ｐゴシック" charset="0"/>
              </a:defRPr>
            </a:lvl4pPr>
            <a:lvl5pPr marL="2057400" indent="-228600">
              <a:defRPr sz="2200">
                <a:solidFill>
                  <a:schemeClr val="hlink"/>
                </a:solidFill>
                <a:latin typeface="Arial" charset="0"/>
                <a:ea typeface="ＭＳ Ｐゴシック" charset="0"/>
              </a:defRPr>
            </a:lvl5pPr>
            <a:lvl6pPr marL="2514600" indent="-228600" eaLnBrk="0" fontAlgn="base" hangingPunct="0">
              <a:spcBef>
                <a:spcPct val="0"/>
              </a:spcBef>
              <a:spcAft>
                <a:spcPct val="0"/>
              </a:spcAft>
              <a:defRPr sz="2200">
                <a:solidFill>
                  <a:schemeClr val="hlink"/>
                </a:solidFill>
                <a:latin typeface="Arial" charset="0"/>
                <a:ea typeface="ＭＳ Ｐゴシック" charset="0"/>
              </a:defRPr>
            </a:lvl6pPr>
            <a:lvl7pPr marL="2971800" indent="-228600" eaLnBrk="0" fontAlgn="base" hangingPunct="0">
              <a:spcBef>
                <a:spcPct val="0"/>
              </a:spcBef>
              <a:spcAft>
                <a:spcPct val="0"/>
              </a:spcAft>
              <a:defRPr sz="2200">
                <a:solidFill>
                  <a:schemeClr val="hlink"/>
                </a:solidFill>
                <a:latin typeface="Arial" charset="0"/>
                <a:ea typeface="ＭＳ Ｐゴシック" charset="0"/>
              </a:defRPr>
            </a:lvl7pPr>
            <a:lvl8pPr marL="3429000" indent="-228600" eaLnBrk="0" fontAlgn="base" hangingPunct="0">
              <a:spcBef>
                <a:spcPct val="0"/>
              </a:spcBef>
              <a:spcAft>
                <a:spcPct val="0"/>
              </a:spcAft>
              <a:defRPr sz="2200">
                <a:solidFill>
                  <a:schemeClr val="hlink"/>
                </a:solidFill>
                <a:latin typeface="Arial" charset="0"/>
                <a:ea typeface="ＭＳ Ｐゴシック" charset="0"/>
              </a:defRPr>
            </a:lvl8pPr>
            <a:lvl9pPr marL="3886200" indent="-228600" eaLnBrk="0" fontAlgn="base" hangingPunct="0">
              <a:spcBef>
                <a:spcPct val="0"/>
              </a:spcBef>
              <a:spcAft>
                <a:spcPct val="0"/>
              </a:spcAft>
              <a:defRPr sz="2200">
                <a:solidFill>
                  <a:schemeClr val="hlink"/>
                </a:solidFill>
                <a:latin typeface="Arial" charset="0"/>
                <a:ea typeface="ＭＳ Ｐゴシック" charset="0"/>
              </a:defRPr>
            </a:lvl9pPr>
          </a:lstStyle>
          <a:p>
            <a:pPr algn="ctr">
              <a:spcBef>
                <a:spcPts val="300"/>
              </a:spcBef>
              <a:buClr>
                <a:srgbClr val="000000"/>
              </a:buClr>
              <a:buSzPct val="100000"/>
              <a:buFont typeface="Wingdings" charset="0"/>
              <a:buNone/>
            </a:pPr>
            <a:r>
              <a:rPr lang="en-US" sz="6000" b="1" dirty="0" smtClean="0">
                <a:solidFill>
                  <a:srgbClr val="1673B2"/>
                </a:solidFill>
                <a:cs typeface="Arial" charset="0"/>
                <a:sym typeface="Arial" charset="0"/>
              </a:rPr>
              <a:t>Cloud </a:t>
            </a:r>
            <a:r>
              <a:rPr lang="en-US" sz="6000" b="1" dirty="0">
                <a:solidFill>
                  <a:srgbClr val="1673B2"/>
                </a:solidFill>
                <a:cs typeface="Arial" charset="0"/>
                <a:sym typeface="Arial" charset="0"/>
              </a:rPr>
              <a:t>offerings aren’t secure enough for my sensitive </a:t>
            </a:r>
            <a:r>
              <a:rPr lang="en-US" sz="6000" b="1" dirty="0" smtClean="0">
                <a:solidFill>
                  <a:srgbClr val="1673B2"/>
                </a:solidFill>
                <a:cs typeface="Arial" charset="0"/>
                <a:sym typeface="Arial" charset="0"/>
              </a:rPr>
              <a:t>data</a:t>
            </a:r>
            <a:endParaRPr lang="en-US" sz="6000" b="1" dirty="0">
              <a:solidFill>
                <a:srgbClr val="1673B2"/>
              </a:solidFill>
              <a:cs typeface="Arial" charset="0"/>
              <a:sym typeface="Arial" charset="0"/>
            </a:endParaRPr>
          </a:p>
        </p:txBody>
      </p:sp>
    </p:spTree>
    <p:extLst>
      <p:ext uri="{BB962C8B-B14F-4D97-AF65-F5344CB8AC3E}">
        <p14:creationId xmlns:p14="http://schemas.microsoft.com/office/powerpoint/2010/main" val="2898307867"/>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7"/>
          <p:cNvPicPr>
            <a:picLocks noChangeAspect="1"/>
          </p:cNvPicPr>
          <p:nvPr/>
        </p:nvPicPr>
        <p:blipFill>
          <a:blip r:embed="rId2">
            <a:extLst>
              <a:ext uri="{28A0092B-C50C-407E-A947-70E740481C1C}">
                <a14:useLocalDpi xmlns:a14="http://schemas.microsoft.com/office/drawing/2010/main" val="0"/>
              </a:ext>
            </a:extLst>
          </a:blip>
          <a:srcRect l="52933" r="8833" b="5794"/>
          <a:stretch>
            <a:fillRect/>
          </a:stretch>
        </p:blipFill>
        <p:spPr bwMode="auto">
          <a:xfrm>
            <a:off x="5719765" y="1597049"/>
            <a:ext cx="3019425" cy="23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201615" y="1589906"/>
            <a:ext cx="6373813" cy="3165995"/>
          </a:xfrm>
          <a:prstGeom prst="rect">
            <a:avLst/>
          </a:prstGeom>
          <a:noFill/>
        </p:spPr>
        <p:txBody>
          <a:bodyPr>
            <a:spAutoFit/>
          </a:bodyPr>
          <a:lstStyle/>
          <a:p>
            <a:pPr marL="342900" indent="-342900" fontAlgn="auto">
              <a:lnSpc>
                <a:spcPct val="110000"/>
              </a:lnSpc>
              <a:spcAft>
                <a:spcPts val="0"/>
              </a:spcAft>
              <a:buFont typeface="Arial"/>
              <a:buChar char="•"/>
              <a:defRPr/>
            </a:pPr>
            <a:r>
              <a:rPr lang="en-US" sz="2400" b="1" dirty="0">
                <a:solidFill>
                  <a:srgbClr val="1673B2"/>
                </a:solidFill>
                <a:ea typeface="MS PGothic" panose="020B0600070205080204" pitchFamily="34" charset="-128"/>
                <a:cs typeface="MS PGothic" charset="0"/>
              </a:rPr>
              <a:t>6,000+ </a:t>
            </a:r>
            <a:r>
              <a:rPr lang="en-US" sz="1600" dirty="0">
                <a:solidFill>
                  <a:schemeClr val="tx1"/>
                </a:solidFill>
                <a:ea typeface="MS PGothic" panose="020B0600070205080204" pitchFamily="34" charset="-128"/>
                <a:cs typeface="MS PGothic" charset="0"/>
              </a:rPr>
              <a:t>IBM security experts worldwide</a:t>
            </a:r>
          </a:p>
          <a:p>
            <a:pPr marL="342900" indent="-342900" fontAlgn="auto">
              <a:lnSpc>
                <a:spcPct val="130000"/>
              </a:lnSpc>
              <a:spcAft>
                <a:spcPts val="0"/>
              </a:spcAft>
              <a:buFont typeface="Arial"/>
              <a:buChar char="•"/>
              <a:defRPr/>
            </a:pPr>
            <a:r>
              <a:rPr lang="en-US" sz="2400" b="1" dirty="0">
                <a:solidFill>
                  <a:srgbClr val="1673B2"/>
                </a:solidFill>
                <a:ea typeface="MS PGothic" panose="020B0600070205080204" pitchFamily="34" charset="-128"/>
                <a:cs typeface="MS PGothic" charset="0"/>
              </a:rPr>
              <a:t>3,000+ </a:t>
            </a:r>
            <a:r>
              <a:rPr lang="en-US" sz="1600" dirty="0">
                <a:solidFill>
                  <a:schemeClr val="tx1"/>
                </a:solidFill>
                <a:ea typeface="MS PGothic" panose="020B0600070205080204" pitchFamily="34" charset="-128"/>
                <a:cs typeface="MS PGothic" charset="0"/>
              </a:rPr>
              <a:t>IBM security patents</a:t>
            </a:r>
          </a:p>
          <a:p>
            <a:pPr marL="342900" indent="-342900" fontAlgn="auto">
              <a:lnSpc>
                <a:spcPct val="130000"/>
              </a:lnSpc>
              <a:spcAft>
                <a:spcPts val="0"/>
              </a:spcAft>
              <a:buFont typeface="Arial"/>
              <a:buChar char="•"/>
              <a:defRPr/>
            </a:pPr>
            <a:r>
              <a:rPr lang="en-US" sz="2400" b="1" dirty="0">
                <a:solidFill>
                  <a:srgbClr val="1673B2"/>
                </a:solidFill>
                <a:ea typeface="MS PGothic" panose="020B0600070205080204" pitchFamily="34" charset="-128"/>
                <a:cs typeface="MS PGothic" charset="0"/>
              </a:rPr>
              <a:t>4,000+ </a:t>
            </a:r>
            <a:r>
              <a:rPr lang="en-US" sz="1600" dirty="0">
                <a:solidFill>
                  <a:schemeClr val="tx1"/>
                </a:solidFill>
                <a:ea typeface="MS PGothic" panose="020B0600070205080204" pitchFamily="34" charset="-128"/>
                <a:cs typeface="MS PGothic" charset="0"/>
              </a:rPr>
              <a:t>IBM security clients worldwide</a:t>
            </a:r>
          </a:p>
          <a:p>
            <a:pPr marL="342900" indent="-342900" fontAlgn="auto">
              <a:lnSpc>
                <a:spcPct val="130000"/>
              </a:lnSpc>
              <a:spcAft>
                <a:spcPts val="0"/>
              </a:spcAft>
              <a:buFont typeface="Arial"/>
              <a:buChar char="•"/>
              <a:defRPr/>
            </a:pPr>
            <a:r>
              <a:rPr lang="en-US" sz="2400" b="1" dirty="0">
                <a:solidFill>
                  <a:srgbClr val="1673B2"/>
                </a:solidFill>
                <a:ea typeface="MS PGothic" panose="020B0600070205080204" pitchFamily="34" charset="-128"/>
                <a:cs typeface="MS PGothic" charset="0"/>
              </a:rPr>
              <a:t>70+ </a:t>
            </a:r>
            <a:r>
              <a:rPr lang="en-US" sz="1600" dirty="0">
                <a:solidFill>
                  <a:schemeClr val="tx1"/>
                </a:solidFill>
                <a:ea typeface="MS PGothic" panose="020B0600070205080204" pitchFamily="34" charset="-128"/>
                <a:cs typeface="MS PGothic" charset="0"/>
              </a:rPr>
              <a:t>new products/enhancements</a:t>
            </a:r>
          </a:p>
          <a:p>
            <a:pPr marL="342900" indent="-342900" fontAlgn="auto">
              <a:lnSpc>
                <a:spcPct val="130000"/>
              </a:lnSpc>
              <a:spcAft>
                <a:spcPts val="0"/>
              </a:spcAft>
              <a:buFont typeface="Arial"/>
              <a:buChar char="•"/>
              <a:defRPr/>
            </a:pPr>
            <a:r>
              <a:rPr lang="en-US" sz="2400" b="1" dirty="0">
                <a:solidFill>
                  <a:srgbClr val="1673B2"/>
                </a:solidFill>
                <a:ea typeface="MS PGothic" panose="020B0600070205080204" pitchFamily="34" charset="-128"/>
                <a:cs typeface="MS PGothic" charset="0"/>
              </a:rPr>
              <a:t>27</a:t>
            </a:r>
            <a:r>
              <a:rPr lang="en-US" sz="2000" dirty="0">
                <a:solidFill>
                  <a:schemeClr val="tx1"/>
                </a:solidFill>
                <a:ea typeface="MS PGothic" panose="020B0600070205080204" pitchFamily="34" charset="-128"/>
                <a:cs typeface="MS PGothic" charset="0"/>
              </a:rPr>
              <a:t> </a:t>
            </a:r>
            <a:r>
              <a:rPr lang="en-US" sz="1600" dirty="0">
                <a:solidFill>
                  <a:schemeClr val="tx1"/>
                </a:solidFill>
                <a:ea typeface="MS PGothic" panose="020B0600070205080204" pitchFamily="34" charset="-128"/>
                <a:cs typeface="MS PGothic" charset="0"/>
              </a:rPr>
              <a:t>leadership positions in analyst rankings</a:t>
            </a:r>
          </a:p>
          <a:p>
            <a:pPr marL="342900" indent="-342900" fontAlgn="auto">
              <a:lnSpc>
                <a:spcPct val="130000"/>
              </a:lnSpc>
              <a:spcAft>
                <a:spcPts val="0"/>
              </a:spcAft>
              <a:buFont typeface="Arial"/>
              <a:buChar char="•"/>
              <a:defRPr/>
            </a:pPr>
            <a:r>
              <a:rPr lang="en-US" sz="2400" b="1" dirty="0">
                <a:solidFill>
                  <a:srgbClr val="1673B2"/>
                </a:solidFill>
                <a:ea typeface="MS PGothic" panose="020B0600070205080204" pitchFamily="34" charset="-128"/>
                <a:cs typeface="MS PGothic" charset="0"/>
              </a:rPr>
              <a:t>25</a:t>
            </a:r>
            <a:r>
              <a:rPr lang="en-US" sz="1600" dirty="0">
                <a:solidFill>
                  <a:schemeClr val="tx1"/>
                </a:solidFill>
                <a:ea typeface="MS PGothic" panose="020B0600070205080204" pitchFamily="34" charset="-128"/>
                <a:cs typeface="MS PGothic" charset="0"/>
              </a:rPr>
              <a:t> IBM Security labs worldwide</a:t>
            </a:r>
          </a:p>
          <a:p>
            <a:pPr fontAlgn="auto">
              <a:lnSpc>
                <a:spcPct val="110000"/>
              </a:lnSpc>
              <a:spcAft>
                <a:spcPts val="0"/>
              </a:spcAft>
              <a:defRPr/>
            </a:pPr>
            <a:endParaRPr lang="en-US" sz="1600" dirty="0">
              <a:solidFill>
                <a:schemeClr val="tx1"/>
              </a:solidFill>
              <a:ea typeface="MS PGothic" panose="020B0600070205080204" pitchFamily="34" charset="-128"/>
              <a:cs typeface="MS PGothic" charset="0"/>
            </a:endParaRPr>
          </a:p>
        </p:txBody>
      </p:sp>
      <p:sp>
        <p:nvSpPr>
          <p:cNvPr id="5" name="Rectangle 23"/>
          <p:cNvSpPr>
            <a:spLocks noChangeArrowheads="1"/>
          </p:cNvSpPr>
          <p:nvPr/>
        </p:nvSpPr>
        <p:spPr bwMode="auto">
          <a:xfrm>
            <a:off x="0" y="1038977"/>
            <a:ext cx="9144000" cy="5642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lnSpc>
                <a:spcPct val="95000"/>
              </a:lnSpc>
              <a:spcAft>
                <a:spcPct val="30000"/>
              </a:spcAft>
              <a:buClr>
                <a:schemeClr val="tx1"/>
              </a:buClr>
              <a:buFont typeface="Wingdings" charset="0"/>
              <a:buNone/>
            </a:pPr>
            <a:r>
              <a:rPr lang="en-US" sz="3200" dirty="0">
                <a:solidFill>
                  <a:srgbClr val="800000"/>
                </a:solidFill>
              </a:rPr>
              <a:t>Don’t avoid the security conversation, </a:t>
            </a:r>
            <a:r>
              <a:rPr lang="en-US" sz="3200" b="1" dirty="0">
                <a:solidFill>
                  <a:srgbClr val="800000"/>
                </a:solidFill>
              </a:rPr>
              <a:t>START IT</a:t>
            </a:r>
          </a:p>
        </p:txBody>
      </p:sp>
      <p:sp>
        <p:nvSpPr>
          <p:cNvPr id="6" name="Title 5"/>
          <p:cNvSpPr>
            <a:spLocks noGrp="1"/>
          </p:cNvSpPr>
          <p:nvPr>
            <p:ph type="title"/>
          </p:nvPr>
        </p:nvSpPr>
        <p:spPr/>
        <p:txBody>
          <a:bodyPr/>
          <a:lstStyle/>
          <a:p>
            <a:r>
              <a:rPr lang="en-US" dirty="0">
                <a:latin typeface="Arial" charset="0"/>
                <a:cs typeface="ＭＳ Ｐゴシック" charset="0"/>
              </a:rPr>
              <a:t>Unparalleled </a:t>
            </a:r>
            <a:r>
              <a:rPr lang="en-US" dirty="0" smtClean="0">
                <a:latin typeface="Arial" charset="0"/>
                <a:cs typeface="ＭＳ Ｐゴシック" charset="0"/>
              </a:rPr>
              <a:t>security</a:t>
            </a:r>
            <a:endParaRPr lang="en-US" dirty="0"/>
          </a:p>
        </p:txBody>
      </p:sp>
    </p:spTree>
    <p:extLst>
      <p:ext uri="{BB962C8B-B14F-4D97-AF65-F5344CB8AC3E}">
        <p14:creationId xmlns:p14="http://schemas.microsoft.com/office/powerpoint/2010/main" val="2290033691"/>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353186" y="871506"/>
            <a:ext cx="6206357" cy="3925596"/>
          </a:xfrm>
          <a:prstGeom prst="rect">
            <a:avLst/>
          </a:prstGeom>
        </p:spPr>
        <p:txBody>
          <a:bodyPr/>
          <a:lstStyle>
            <a:lvl1pPr marL="176212" indent="-176212">
              <a:spcBef>
                <a:spcPts val="300"/>
              </a:spcBef>
              <a:buClr>
                <a:srgbClr val="000000"/>
              </a:buClr>
              <a:buSzPct val="100000"/>
              <a:buFont typeface="Wingdings"/>
              <a:buChar char="▪"/>
              <a:defRPr sz="1600">
                <a:latin typeface="Arial"/>
                <a:ea typeface="Arial"/>
                <a:cs typeface="Arial"/>
                <a:sym typeface="Arial"/>
              </a:defRPr>
            </a:lvl1pPr>
            <a:lvl2pPr marL="515937" indent="-225425">
              <a:spcBef>
                <a:spcPts val="300"/>
              </a:spcBef>
              <a:buClr>
                <a:srgbClr val="000000"/>
              </a:buClr>
              <a:buSzPct val="100000"/>
              <a:buFont typeface="Wingdings"/>
              <a:buChar char="−"/>
              <a:defRPr sz="1600">
                <a:latin typeface="Arial"/>
                <a:ea typeface="Arial"/>
                <a:cs typeface="Arial"/>
                <a:sym typeface="Arial"/>
              </a:defRPr>
            </a:lvl2pPr>
            <a:lvl3pPr marL="804862" indent="-171450">
              <a:spcBef>
                <a:spcPts val="300"/>
              </a:spcBef>
              <a:buClr>
                <a:srgbClr val="000000"/>
              </a:buClr>
              <a:buSzPct val="100000"/>
              <a:buFont typeface="Wingdings"/>
              <a:buChar char="•"/>
              <a:defRPr sz="1600">
                <a:latin typeface="Arial"/>
                <a:ea typeface="Arial"/>
                <a:cs typeface="Arial"/>
                <a:sym typeface="Arial"/>
              </a:defRPr>
            </a:lvl3pPr>
            <a:lvl4pPr marL="1455511" indent="-201386">
              <a:spcBef>
                <a:spcPts val="300"/>
              </a:spcBef>
              <a:buClr>
                <a:srgbClr val="000000"/>
              </a:buClr>
              <a:buSzPct val="100000"/>
              <a:buFont typeface="Wingdings"/>
              <a:buChar char="•"/>
              <a:defRPr sz="1600">
                <a:latin typeface="Arial"/>
                <a:ea typeface="Arial"/>
                <a:cs typeface="Arial"/>
                <a:sym typeface="Arial"/>
              </a:defRPr>
            </a:lvl4pPr>
            <a:lvl5pPr indent="1711325">
              <a:spcBef>
                <a:spcPts val="300"/>
              </a:spcBef>
              <a:buClr>
                <a:srgbClr val="000000"/>
              </a:buClr>
              <a:buFont typeface="Wingdings"/>
              <a:defRPr sz="1600">
                <a:latin typeface="Arial"/>
                <a:ea typeface="Arial"/>
                <a:cs typeface="Arial"/>
                <a:sym typeface="Arial"/>
              </a:defRPr>
            </a:lvl5pPr>
            <a:lvl6pPr indent="2168525">
              <a:spcBef>
                <a:spcPts val="300"/>
              </a:spcBef>
              <a:buClr>
                <a:srgbClr val="000000"/>
              </a:buClr>
              <a:buFont typeface="Wingdings"/>
              <a:defRPr sz="1600">
                <a:latin typeface="Arial"/>
                <a:ea typeface="Arial"/>
                <a:cs typeface="Arial"/>
                <a:sym typeface="Arial"/>
              </a:defRPr>
            </a:lvl6pPr>
            <a:lvl7pPr indent="2625725">
              <a:spcBef>
                <a:spcPts val="300"/>
              </a:spcBef>
              <a:buClr>
                <a:srgbClr val="000000"/>
              </a:buClr>
              <a:buFont typeface="Wingdings"/>
              <a:defRPr sz="1600">
                <a:latin typeface="Arial"/>
                <a:ea typeface="Arial"/>
                <a:cs typeface="Arial"/>
                <a:sym typeface="Arial"/>
              </a:defRPr>
            </a:lvl7pPr>
            <a:lvl8pPr indent="3082925">
              <a:spcBef>
                <a:spcPts val="300"/>
              </a:spcBef>
              <a:buClr>
                <a:srgbClr val="000000"/>
              </a:buClr>
              <a:buFont typeface="Wingdings"/>
              <a:defRPr sz="1600">
                <a:latin typeface="Arial"/>
                <a:ea typeface="Arial"/>
                <a:cs typeface="Arial"/>
                <a:sym typeface="Arial"/>
              </a:defRPr>
            </a:lvl8pPr>
            <a:lvl9pPr indent="3540125">
              <a:spcBef>
                <a:spcPts val="300"/>
              </a:spcBef>
              <a:buClr>
                <a:srgbClr val="000000"/>
              </a:buClr>
              <a:buFont typeface="Wingdings"/>
              <a:defRPr sz="1600">
                <a:latin typeface="Arial"/>
                <a:ea typeface="Arial"/>
                <a:cs typeface="Arial"/>
                <a:sym typeface="Arial"/>
              </a:defRPr>
            </a:lvl9pPr>
          </a:lstStyle>
          <a:p>
            <a:r>
              <a:rPr lang="en-US" sz="1200" b="1" dirty="0" smtClean="0">
                <a:solidFill>
                  <a:schemeClr val="tx1"/>
                </a:solidFill>
              </a:rPr>
              <a:t>Security Features:</a:t>
            </a:r>
            <a:endParaRPr lang="en-US" sz="1200" dirty="0" smtClean="0">
              <a:solidFill>
                <a:schemeClr val="tx1"/>
              </a:solidFill>
            </a:endParaRPr>
          </a:p>
          <a:p>
            <a:pPr lvl="1">
              <a:buFont typeface="Arial" panose="020B0604020202020204" pitchFamily="34" charset="0"/>
              <a:buChar char="•"/>
            </a:pPr>
            <a:r>
              <a:rPr lang="en-US" sz="1200" i="1" dirty="0">
                <a:solidFill>
                  <a:schemeClr val="tx1"/>
                </a:solidFill>
              </a:rPr>
              <a:t>Encryption at </a:t>
            </a:r>
            <a:r>
              <a:rPr lang="en-US" sz="1200" i="1" dirty="0" smtClean="0">
                <a:solidFill>
                  <a:schemeClr val="tx1"/>
                </a:solidFill>
              </a:rPr>
              <a:t>rest</a:t>
            </a:r>
            <a:r>
              <a:rPr lang="en-US" sz="1200" dirty="0" smtClean="0">
                <a:solidFill>
                  <a:schemeClr val="tx1"/>
                </a:solidFill>
              </a:rPr>
              <a:t>: Automatic with Advanced </a:t>
            </a:r>
            <a:r>
              <a:rPr lang="en-US" sz="1200" dirty="0">
                <a:solidFill>
                  <a:schemeClr val="tx1"/>
                </a:solidFill>
              </a:rPr>
              <a:t>Encryption Standard (AES) in Cipher-Block Chaining (CBC) mode with a 256 bits key</a:t>
            </a:r>
            <a:r>
              <a:rPr lang="en-US" sz="1200" dirty="0" smtClean="0">
                <a:solidFill>
                  <a:schemeClr val="tx1"/>
                </a:solidFill>
              </a:rPr>
              <a:t>.</a:t>
            </a:r>
          </a:p>
          <a:p>
            <a:pPr lvl="1">
              <a:buFont typeface="Arial" panose="020B0604020202020204" pitchFamily="34" charset="0"/>
              <a:buChar char="•"/>
            </a:pPr>
            <a:r>
              <a:rPr lang="en-US" sz="1200" i="1" dirty="0" smtClean="0">
                <a:solidFill>
                  <a:schemeClr val="tx1"/>
                </a:solidFill>
              </a:rPr>
              <a:t>Encryption </a:t>
            </a:r>
            <a:r>
              <a:rPr lang="en-US" sz="1200" i="1" dirty="0">
                <a:solidFill>
                  <a:schemeClr val="tx1"/>
                </a:solidFill>
              </a:rPr>
              <a:t>in </a:t>
            </a:r>
            <a:r>
              <a:rPr lang="en-US" sz="1200" i="1" dirty="0" smtClean="0">
                <a:solidFill>
                  <a:schemeClr val="tx1"/>
                </a:solidFill>
              </a:rPr>
              <a:t>transit</a:t>
            </a:r>
            <a:r>
              <a:rPr lang="en-US" sz="1200" dirty="0">
                <a:solidFill>
                  <a:schemeClr val="tx1"/>
                </a:solidFill>
              </a:rPr>
              <a:t>: Secure Socket Layer (SSL) is automatically configured when your dashDB database is </a:t>
            </a:r>
            <a:r>
              <a:rPr lang="en-US" sz="1200" dirty="0" smtClean="0">
                <a:solidFill>
                  <a:schemeClr val="tx1"/>
                </a:solidFill>
              </a:rPr>
              <a:t>provisioned</a:t>
            </a:r>
            <a:r>
              <a:rPr lang="en-US" sz="1200" dirty="0">
                <a:solidFill>
                  <a:schemeClr val="tx1"/>
                </a:solidFill>
              </a:rPr>
              <a:t>. The dashDB console itself is automatically deployed with HTTPS so all your exchanges with the console are also protected with SSL</a:t>
            </a:r>
            <a:r>
              <a:rPr lang="en-US" sz="1200" dirty="0" smtClean="0">
                <a:solidFill>
                  <a:schemeClr val="tx1"/>
                </a:solidFill>
              </a:rPr>
              <a:t>.</a:t>
            </a:r>
          </a:p>
          <a:p>
            <a:pPr lvl="1">
              <a:buFont typeface="Arial" panose="020B0604020202020204" pitchFamily="34" charset="0"/>
              <a:buChar char="•"/>
            </a:pPr>
            <a:r>
              <a:rPr lang="en-US" sz="1200" i="1" dirty="0" smtClean="0">
                <a:solidFill>
                  <a:schemeClr val="tx1"/>
                </a:solidFill>
              </a:rPr>
              <a:t>Database </a:t>
            </a:r>
            <a:r>
              <a:rPr lang="en-US" sz="1200" i="1" dirty="0">
                <a:solidFill>
                  <a:schemeClr val="tx1"/>
                </a:solidFill>
              </a:rPr>
              <a:t>activity monitoring </a:t>
            </a:r>
            <a:r>
              <a:rPr lang="en-US" sz="1200" dirty="0">
                <a:solidFill>
                  <a:schemeClr val="tx1"/>
                </a:solidFill>
              </a:rPr>
              <a:t>with </a:t>
            </a:r>
            <a:r>
              <a:rPr lang="en-US" sz="1200" dirty="0" err="1" smtClean="0">
                <a:solidFill>
                  <a:schemeClr val="tx1"/>
                </a:solidFill>
              </a:rPr>
              <a:t>Guardium</a:t>
            </a:r>
            <a:r>
              <a:rPr lang="en-US" sz="1200" dirty="0" smtClean="0">
                <a:solidFill>
                  <a:schemeClr val="tx1"/>
                </a:solidFill>
              </a:rPr>
              <a:t> to understand what sensitive data may be in your database and a connections report to see who is accessing it</a:t>
            </a:r>
          </a:p>
          <a:p>
            <a:pPr lvl="1">
              <a:buFont typeface="Arial" panose="020B0604020202020204" pitchFamily="34" charset="0"/>
              <a:buChar char="•"/>
            </a:pPr>
            <a:r>
              <a:rPr lang="en-US" sz="1200" i="1" dirty="0" smtClean="0">
                <a:solidFill>
                  <a:schemeClr val="tx1"/>
                </a:solidFill>
              </a:rPr>
              <a:t>Database access controls</a:t>
            </a:r>
            <a:r>
              <a:rPr lang="en-US" sz="1200" dirty="0">
                <a:solidFill>
                  <a:schemeClr val="tx1"/>
                </a:solidFill>
              </a:rPr>
              <a:t> including </a:t>
            </a:r>
            <a:r>
              <a:rPr lang="en-US" sz="1200" dirty="0" smtClean="0">
                <a:solidFill>
                  <a:schemeClr val="tx1"/>
                </a:solidFill>
              </a:rPr>
              <a:t>table </a:t>
            </a:r>
            <a:r>
              <a:rPr lang="en-US" sz="1200" dirty="0">
                <a:solidFill>
                  <a:schemeClr val="tx1"/>
                </a:solidFill>
              </a:rPr>
              <a:t>level privileges and role based access </a:t>
            </a:r>
            <a:r>
              <a:rPr lang="en-US" sz="1200" dirty="0" smtClean="0">
                <a:solidFill>
                  <a:schemeClr val="tx1"/>
                </a:solidFill>
              </a:rPr>
              <a:t>control</a:t>
            </a:r>
          </a:p>
          <a:p>
            <a:pPr lvl="1">
              <a:buFont typeface="Arial" panose="020B0604020202020204" pitchFamily="34" charset="0"/>
              <a:buChar char="•"/>
            </a:pPr>
            <a:r>
              <a:rPr lang="en-US" sz="1200" dirty="0">
                <a:solidFill>
                  <a:schemeClr val="tx1"/>
                </a:solidFill>
              </a:rPr>
              <a:t>The database server employs a host firewall to protect listening services against port scans and other network security threats</a:t>
            </a:r>
          </a:p>
          <a:p>
            <a:pPr>
              <a:buFont typeface="Arial" panose="020B0604020202020204" pitchFamily="34" charset="0"/>
              <a:buChar char="•"/>
            </a:pPr>
            <a:endParaRPr lang="en-US" sz="1200" dirty="0" smtClean="0">
              <a:solidFill>
                <a:schemeClr val="tx1"/>
              </a:solidFill>
            </a:endParaRPr>
          </a:p>
          <a:p>
            <a:pPr>
              <a:buFont typeface="Arial" panose="020B0604020202020204" pitchFamily="34" charset="0"/>
              <a:buChar char="•"/>
            </a:pPr>
            <a:r>
              <a:rPr lang="en-US" sz="1200" b="1" dirty="0" smtClean="0">
                <a:solidFill>
                  <a:schemeClr val="tx1"/>
                </a:solidFill>
              </a:rPr>
              <a:t>Security Certifications &amp; Attestations:</a:t>
            </a:r>
          </a:p>
          <a:p>
            <a:pPr lvl="1">
              <a:buFont typeface="Arial" panose="020B0604020202020204" pitchFamily="34" charset="0"/>
              <a:buChar char="•"/>
            </a:pPr>
            <a:r>
              <a:rPr lang="en-US" sz="1200" dirty="0" smtClean="0">
                <a:solidFill>
                  <a:schemeClr val="tx1"/>
                </a:solidFill>
              </a:rPr>
              <a:t>3Q: US Safe Harbor, ISO 27001k, SOC2 Risk Assessment Report</a:t>
            </a:r>
          </a:p>
          <a:p>
            <a:pPr lvl="1">
              <a:buFont typeface="Arial" panose="020B0604020202020204" pitchFamily="34" charset="0"/>
              <a:buChar char="•"/>
            </a:pPr>
            <a:r>
              <a:rPr lang="en-US" sz="1200" dirty="0" smtClean="0">
                <a:solidFill>
                  <a:schemeClr val="tx1"/>
                </a:solidFill>
              </a:rPr>
              <a:t>4Q: HIPAA, PCI-DSS</a:t>
            </a:r>
          </a:p>
          <a:p>
            <a:pPr lvl="1">
              <a:buFont typeface="Arial" panose="020B0604020202020204" pitchFamily="34" charset="0"/>
              <a:buChar char="•"/>
            </a:pPr>
            <a:r>
              <a:rPr lang="en-US" sz="1200" dirty="0" smtClean="0">
                <a:solidFill>
                  <a:schemeClr val="tx1"/>
                </a:solidFill>
              </a:rPr>
              <a:t>Early 2016: SOC2-type 2 certification</a:t>
            </a:r>
            <a:endParaRPr lang="en-US" sz="1200" b="1" dirty="0" smtClean="0">
              <a:solidFill>
                <a:schemeClr val="tx1"/>
              </a:solidFill>
            </a:endParaRPr>
          </a:p>
        </p:txBody>
      </p:sp>
      <p:pic>
        <p:nvPicPr>
          <p:cNvPr id="7" name="image51.png"/>
          <p:cNvPicPr/>
          <p:nvPr/>
        </p:nvPicPr>
        <p:blipFill>
          <a:blip r:embed="rId2">
            <a:extLst/>
          </a:blip>
          <a:stretch>
            <a:fillRect/>
          </a:stretch>
        </p:blipFill>
        <p:spPr>
          <a:xfrm>
            <a:off x="6993755" y="1419772"/>
            <a:ext cx="1598918" cy="1193966"/>
          </a:xfrm>
          <a:prstGeom prst="rect">
            <a:avLst/>
          </a:prstGeom>
          <a:ln>
            <a:noFill/>
          </a:ln>
          <a:effectLst>
            <a:outerShdw blurRad="292100" dist="139700" dir="2700000" algn="tl" rotWithShape="0">
              <a:srgbClr val="333333">
                <a:alpha val="65000"/>
              </a:srgbClr>
            </a:outerShdw>
          </a:effectLst>
        </p:spPr>
      </p:pic>
      <p:pic>
        <p:nvPicPr>
          <p:cNvPr id="8" name="Picture 7"/>
          <p:cNvPicPr>
            <a:picLocks noChangeAspect="1"/>
          </p:cNvPicPr>
          <p:nvPr/>
        </p:nvPicPr>
        <p:blipFill>
          <a:blip r:embed="rId3"/>
          <a:stretch>
            <a:fillRect/>
          </a:stretch>
        </p:blipFill>
        <p:spPr>
          <a:xfrm>
            <a:off x="6774243" y="3067440"/>
            <a:ext cx="2150245" cy="853482"/>
          </a:xfrm>
          <a:prstGeom prst="rect">
            <a:avLst/>
          </a:prstGeom>
          <a:ln>
            <a:noFill/>
          </a:ln>
          <a:effectLst>
            <a:outerShdw blurRad="292100" dist="139700" dir="2700000" algn="tl" rotWithShape="0">
              <a:srgbClr val="333333">
                <a:alpha val="65000"/>
              </a:srgbClr>
            </a:outerShdw>
          </a:effectLst>
        </p:spPr>
      </p:pic>
      <p:sp>
        <p:nvSpPr>
          <p:cNvPr id="4" name="Title 3"/>
          <p:cNvSpPr>
            <a:spLocks noGrp="1"/>
          </p:cNvSpPr>
          <p:nvPr>
            <p:ph type="title"/>
          </p:nvPr>
        </p:nvSpPr>
        <p:spPr/>
        <p:txBody>
          <a:bodyPr/>
          <a:lstStyle/>
          <a:p>
            <a:r>
              <a:rPr lang="en-US" dirty="0"/>
              <a:t>Let’s Look At One Offering’s Security </a:t>
            </a:r>
            <a:r>
              <a:rPr lang="en-US" dirty="0" smtClean="0"/>
              <a:t>Features</a:t>
            </a:r>
            <a:endParaRPr lang="en-US" dirty="0"/>
          </a:p>
        </p:txBody>
      </p:sp>
    </p:spTree>
    <p:extLst>
      <p:ext uri="{BB962C8B-B14F-4D97-AF65-F5344CB8AC3E}">
        <p14:creationId xmlns:p14="http://schemas.microsoft.com/office/powerpoint/2010/main" val="4202823372"/>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BM Cloud-based analytics summary</a:t>
            </a:r>
          </a:p>
        </p:txBody>
      </p:sp>
      <p:sp>
        <p:nvSpPr>
          <p:cNvPr id="3" name="Content Placeholder 2"/>
          <p:cNvSpPr>
            <a:spLocks noGrp="1"/>
          </p:cNvSpPr>
          <p:nvPr>
            <p:ph idx="1"/>
          </p:nvPr>
        </p:nvSpPr>
        <p:spPr>
          <a:xfrm>
            <a:off x="266700" y="1689258"/>
            <a:ext cx="4839722" cy="2062060"/>
          </a:xfrm>
        </p:spPr>
        <p:txBody>
          <a:bodyPr/>
          <a:lstStyle/>
          <a:p>
            <a:r>
              <a:rPr lang="en-US" dirty="0" smtClean="0"/>
              <a:t>Global Operations</a:t>
            </a:r>
          </a:p>
          <a:p>
            <a:r>
              <a:rPr lang="en-US" dirty="0" smtClean="0"/>
              <a:t>Datacentres in Sydney and Melbourne</a:t>
            </a:r>
          </a:p>
          <a:p>
            <a:r>
              <a:rPr lang="en-US" dirty="0" smtClean="0"/>
              <a:t>100s of dedicated enterprise clients</a:t>
            </a:r>
          </a:p>
          <a:p>
            <a:r>
              <a:rPr lang="en-US" dirty="0" smtClean="0"/>
              <a:t>50,000+ users</a:t>
            </a:r>
          </a:p>
        </p:txBody>
      </p:sp>
      <p:grpSp>
        <p:nvGrpSpPr>
          <p:cNvPr id="5" name="Group 12"/>
          <p:cNvGrpSpPr>
            <a:grpSpLocks/>
          </p:cNvGrpSpPr>
          <p:nvPr/>
        </p:nvGrpSpPr>
        <p:grpSpPr bwMode="auto">
          <a:xfrm>
            <a:off x="4700125" y="2330254"/>
            <a:ext cx="951151" cy="775974"/>
            <a:chOff x="6200274" y="2117558"/>
            <a:chExt cx="729916" cy="641684"/>
          </a:xfrm>
        </p:grpSpPr>
        <p:sp>
          <p:nvSpPr>
            <p:cNvPr id="6" name="Hexagon 5"/>
            <p:cNvSpPr>
              <a:spLocks noChangeArrowheads="1"/>
            </p:cNvSpPr>
            <p:nvPr/>
          </p:nvSpPr>
          <p:spPr bwMode="auto">
            <a:xfrm>
              <a:off x="6200274"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7" name="Picture 2" descr="Cloudant NoSQL DB: Cloudant NoSQL DB provides access to a fully managed NoSQL JSON data layer that's always on. This service is compatible with CouchDB, and accessible through a simple to use HTTP interface for mobile and web application mode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27107" y="2200275"/>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 name="Group 14"/>
          <p:cNvGrpSpPr>
            <a:grpSpLocks/>
          </p:cNvGrpSpPr>
          <p:nvPr/>
        </p:nvGrpSpPr>
        <p:grpSpPr bwMode="auto">
          <a:xfrm>
            <a:off x="5362413" y="1211145"/>
            <a:ext cx="927233" cy="775974"/>
            <a:chOff x="7916780" y="2117558"/>
            <a:chExt cx="729916" cy="641684"/>
          </a:xfrm>
        </p:grpSpPr>
        <p:sp>
          <p:nvSpPr>
            <p:cNvPr id="9" name="Hexagon 8"/>
            <p:cNvSpPr>
              <a:spLocks noChangeArrowheads="1"/>
            </p:cNvSpPr>
            <p:nvPr/>
          </p:nvSpPr>
          <p:spPr bwMode="auto">
            <a:xfrm>
              <a:off x="7916780"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10" name="Picture 6" descr="dashDB: Store relational data, including special types such as geospatial data, and analyze it with SQL, R, and built-in predictive and geospatial analytics function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83719" y="2217821"/>
              <a:ext cx="410577" cy="410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3"/>
          <p:cNvGrpSpPr>
            <a:grpSpLocks/>
          </p:cNvGrpSpPr>
          <p:nvPr/>
        </p:nvGrpSpPr>
        <p:grpSpPr bwMode="auto">
          <a:xfrm>
            <a:off x="7571072" y="2371789"/>
            <a:ext cx="979292" cy="775974"/>
            <a:chOff x="7058527" y="2117558"/>
            <a:chExt cx="729916" cy="641684"/>
          </a:xfrm>
        </p:grpSpPr>
        <p:sp>
          <p:nvSpPr>
            <p:cNvPr id="12" name="Hexagon 11"/>
            <p:cNvSpPr>
              <a:spLocks noChangeArrowheads="1"/>
            </p:cNvSpPr>
            <p:nvPr/>
          </p:nvSpPr>
          <p:spPr bwMode="auto">
            <a:xfrm>
              <a:off x="7058527"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13" name="Picture 4" descr="BigInsights for Hadoop: One or more bare metal IBM BigInsights for Hadoop cluster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85360" y="2200275"/>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300020" y="3473355"/>
            <a:ext cx="1041043" cy="963674"/>
          </a:xfrm>
          <a:prstGeom prst="rect">
            <a:avLst/>
          </a:prstGeom>
        </p:spPr>
      </p:pic>
      <p:grpSp>
        <p:nvGrpSpPr>
          <p:cNvPr id="16" name="Group 15"/>
          <p:cNvGrpSpPr/>
          <p:nvPr/>
        </p:nvGrpSpPr>
        <p:grpSpPr>
          <a:xfrm>
            <a:off x="6900093" y="1227835"/>
            <a:ext cx="979292" cy="775974"/>
            <a:chOff x="5997724" y="949156"/>
            <a:chExt cx="670979" cy="595722"/>
          </a:xfrm>
        </p:grpSpPr>
        <p:sp>
          <p:nvSpPr>
            <p:cNvPr id="4" name="Hexagon 3"/>
            <p:cNvSpPr>
              <a:spLocks noChangeArrowheads="1"/>
            </p:cNvSpPr>
            <p:nvPr/>
          </p:nvSpPr>
          <p:spPr bwMode="auto">
            <a:xfrm>
              <a:off x="5997724" y="949156"/>
              <a:ext cx="670979" cy="595722"/>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15" name="Picture 14"/>
            <p:cNvPicPr>
              <a:picLocks noChangeAspect="1"/>
            </p:cNvPicPr>
            <p:nvPr/>
          </p:nvPicPr>
          <p:blipFill>
            <a:blip r:embed="rId6"/>
            <a:stretch>
              <a:fillRect/>
            </a:stretch>
          </p:blipFill>
          <p:spPr>
            <a:xfrm>
              <a:off x="6102676" y="1007580"/>
              <a:ext cx="471003" cy="471003"/>
            </a:xfrm>
            <a:prstGeom prst="rect">
              <a:avLst/>
            </a:prstGeom>
          </p:spPr>
        </p:pic>
      </p:grpSp>
      <p:grpSp>
        <p:nvGrpSpPr>
          <p:cNvPr id="21" name="Group 20"/>
          <p:cNvGrpSpPr/>
          <p:nvPr/>
        </p:nvGrpSpPr>
        <p:grpSpPr>
          <a:xfrm>
            <a:off x="7005044" y="3473355"/>
            <a:ext cx="927233" cy="903250"/>
            <a:chOff x="7005045" y="3653607"/>
            <a:chExt cx="635310" cy="595722"/>
          </a:xfrm>
        </p:grpSpPr>
        <p:sp>
          <p:nvSpPr>
            <p:cNvPr id="18" name="Hexagon 17"/>
            <p:cNvSpPr>
              <a:spLocks noChangeArrowheads="1"/>
            </p:cNvSpPr>
            <p:nvPr/>
          </p:nvSpPr>
          <p:spPr bwMode="auto">
            <a:xfrm>
              <a:off x="7005045" y="3653607"/>
              <a:ext cx="635310" cy="595722"/>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20" name="Picture 19"/>
            <p:cNvPicPr>
              <a:picLocks noChangeAspect="1"/>
            </p:cNvPicPr>
            <p:nvPr/>
          </p:nvPicPr>
          <p:blipFill>
            <a:blip r:embed="rId7"/>
            <a:stretch>
              <a:fillRect/>
            </a:stretch>
          </p:blipFill>
          <p:spPr>
            <a:xfrm>
              <a:off x="7116197" y="3751318"/>
              <a:ext cx="412270" cy="412270"/>
            </a:xfrm>
            <a:prstGeom prst="rect">
              <a:avLst/>
            </a:prstGeom>
          </p:spPr>
        </p:pic>
      </p:grpSp>
    </p:spTree>
    <p:extLst>
      <p:ext uri="{BB962C8B-B14F-4D97-AF65-F5344CB8AC3E}">
        <p14:creationId xmlns:p14="http://schemas.microsoft.com/office/powerpoint/2010/main" val="2224324864"/>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oving Forward….</a:t>
            </a:r>
            <a:endParaRPr lang="en-US" dirty="0"/>
          </a:p>
        </p:txBody>
      </p:sp>
      <p:sp>
        <p:nvSpPr>
          <p:cNvPr id="3" name="Content Placeholder 2"/>
          <p:cNvSpPr>
            <a:spLocks noGrp="1"/>
          </p:cNvSpPr>
          <p:nvPr>
            <p:ph idx="1"/>
          </p:nvPr>
        </p:nvSpPr>
        <p:spPr/>
        <p:txBody>
          <a:bodyPr/>
          <a:lstStyle/>
          <a:p>
            <a:r>
              <a:rPr lang="en-US" dirty="0" smtClean="0"/>
              <a:t>On to BK to cover Cloudant and dashDB in more detail</a:t>
            </a:r>
            <a:endParaRPr lang="en-US" dirty="0"/>
          </a:p>
        </p:txBody>
      </p:sp>
    </p:spTree>
    <p:extLst>
      <p:ext uri="{BB962C8B-B14F-4D97-AF65-F5344CB8AC3E}">
        <p14:creationId xmlns:p14="http://schemas.microsoft.com/office/powerpoint/2010/main" val="1423284682"/>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3228427789"/>
              </p:ext>
            </p:extLst>
          </p:nvPr>
        </p:nvGraphicFramePr>
        <p:xfrm>
          <a:off x="837933" y="897031"/>
          <a:ext cx="8193741" cy="3751363"/>
        </p:xfrm>
        <a:graphic>
          <a:graphicData uri="http://schemas.openxmlformats.org/drawingml/2006/table">
            <a:tbl>
              <a:tblPr>
                <a:tableStyleId>{2D5ABB26-0587-4C30-8999-92F81FD0307C}</a:tableStyleId>
              </a:tblPr>
              <a:tblGrid>
                <a:gridCol w="5154706"/>
                <a:gridCol w="3039035"/>
              </a:tblGrid>
              <a:tr h="322730">
                <a:tc>
                  <a:txBody>
                    <a:bodyPr/>
                    <a:lstStyle/>
                    <a:p>
                      <a:pPr algn="ctr" fontAlgn="b"/>
                      <a:r>
                        <a:rPr lang="en-US" sz="1100" b="1" i="0" u="none" strike="noStrike" dirty="0" smtClean="0">
                          <a:solidFill>
                            <a:srgbClr val="000000"/>
                          </a:solidFill>
                          <a:effectLst/>
                          <a:latin typeface="Arial"/>
                          <a:cs typeface="Arial"/>
                        </a:rPr>
                        <a:t>Topic</a:t>
                      </a:r>
                      <a:endParaRPr lang="en-US" sz="1100" b="1"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AU" sz="1100" b="1" dirty="0" smtClean="0">
                          <a:solidFill>
                            <a:srgbClr val="000000"/>
                          </a:solidFill>
                          <a:latin typeface="+mn-lt"/>
                        </a:rPr>
                        <a:t>Speaker</a:t>
                      </a: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550725">
                <a:tc>
                  <a:txBody>
                    <a:bodyPr/>
                    <a:lstStyle/>
                    <a:p>
                      <a:pPr algn="ctr" fontAlgn="b"/>
                      <a:r>
                        <a:rPr lang="en-US" sz="1100" u="none" strike="noStrike" dirty="0" smtClean="0">
                          <a:effectLst/>
                        </a:rPr>
                        <a:t>An introduction to IBM’s Cloud Data</a:t>
                      </a:r>
                      <a:r>
                        <a:rPr lang="en-US" sz="1100" u="none" strike="noStrike" baseline="0" dirty="0" smtClean="0">
                          <a:effectLst/>
                        </a:rPr>
                        <a:t> Services</a:t>
                      </a:r>
                      <a:endParaRPr lang="en-US" sz="1100" b="0"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David Sloan</a:t>
                      </a: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Sales Lead</a:t>
                      </a: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Cloud Data Services,</a:t>
                      </a:r>
                      <a:r>
                        <a:rPr lang="en-AU" sz="1100" baseline="0" dirty="0" smtClean="0">
                          <a:solidFill>
                            <a:srgbClr val="000000"/>
                          </a:solidFill>
                          <a:latin typeface="+mn-lt"/>
                        </a:rPr>
                        <a:t> IBM A/NZ</a:t>
                      </a:r>
                      <a:endParaRPr lang="en-AU" sz="1100" dirty="0" smtClean="0">
                        <a:solidFill>
                          <a:srgbClr val="000000"/>
                        </a:solidFill>
                        <a:latin typeface="+mn-lt"/>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50726">
                <a:tc>
                  <a:txBody>
                    <a:bodyPr/>
                    <a:lstStyle/>
                    <a:p>
                      <a:pPr algn="ctr" fontAlgn="b"/>
                      <a:r>
                        <a:rPr lang="en-US" sz="1100" u="none" strike="noStrike" dirty="0" smtClean="0">
                          <a:effectLst/>
                        </a:rPr>
                        <a:t>Enterprise-grade NoSQL for web and mobile data</a:t>
                      </a: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AU" sz="1100" dirty="0" err="1" smtClean="0">
                          <a:solidFill>
                            <a:srgbClr val="000000"/>
                          </a:solidFill>
                          <a:latin typeface="+mn-lt"/>
                        </a:rPr>
                        <a:t>Bharath</a:t>
                      </a:r>
                      <a:r>
                        <a:rPr lang="en-AU" sz="1100" baseline="0" dirty="0" smtClean="0">
                          <a:solidFill>
                            <a:srgbClr val="000000"/>
                          </a:solidFill>
                          <a:latin typeface="+mn-lt"/>
                        </a:rPr>
                        <a:t> </a:t>
                      </a:r>
                      <a:r>
                        <a:rPr lang="en-AU" sz="1100" baseline="0" dirty="0" err="1" smtClean="0">
                          <a:solidFill>
                            <a:srgbClr val="000000"/>
                          </a:solidFill>
                          <a:latin typeface="+mn-lt"/>
                        </a:rPr>
                        <a:t>Kadiam</a:t>
                      </a:r>
                      <a:endParaRPr lang="en-AU" sz="1100" baseline="0" dirty="0" smtClean="0">
                        <a:solidFill>
                          <a:srgbClr val="000000"/>
                        </a:solidFill>
                        <a:latin typeface="+mn-lt"/>
                      </a:endParaRP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Sales</a:t>
                      </a:r>
                      <a:r>
                        <a:rPr lang="en-AU" sz="1100" baseline="0" dirty="0" smtClean="0">
                          <a:solidFill>
                            <a:srgbClr val="000000"/>
                          </a:solidFill>
                          <a:latin typeface="+mn-lt"/>
                        </a:rPr>
                        <a:t> Lead</a:t>
                      </a:r>
                      <a:endParaRPr lang="en-AU" sz="1100" dirty="0" smtClean="0">
                        <a:solidFill>
                          <a:srgbClr val="000000"/>
                        </a:solidFill>
                        <a:latin typeface="+mn-lt"/>
                      </a:endParaRP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Cloud Data Services, IBM A/NZ</a:t>
                      </a: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50726">
                <a:tc>
                  <a:txBody>
                    <a:bodyPr/>
                    <a:lstStyle/>
                    <a:p>
                      <a:pPr algn="ctr" fontAlgn="b"/>
                      <a:r>
                        <a:rPr lang="en-US" sz="1100" u="none" strike="noStrike" dirty="0" smtClean="0">
                          <a:effectLst/>
                        </a:rPr>
                        <a:t>Cloud data warehousing for the next generation of Builders</a:t>
                      </a:r>
                      <a:endParaRPr lang="en-US" sz="1100" b="0"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fontAlgn="b"/>
                      <a:endParaRPr lang="en-US" sz="1100" b="0" i="0" u="none" strike="noStrike" dirty="0">
                        <a:solidFill>
                          <a:srgbClr val="000000"/>
                        </a:solidFill>
                        <a:effectLst/>
                        <a:latin typeface="Arial"/>
                        <a:cs typeface="Arial"/>
                      </a:endParaRPr>
                    </a:p>
                  </a:txBody>
                  <a:tcPr marL="4444" marR="4444" marT="4444"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550726">
                <a:tc>
                  <a:txBody>
                    <a:bodyPr/>
                    <a:lstStyle/>
                    <a:p>
                      <a:pPr algn="ctr" fontAlgn="b"/>
                      <a:r>
                        <a:rPr lang="en-US" sz="1100" u="none" strike="noStrike" dirty="0">
                          <a:effectLst/>
                        </a:rPr>
                        <a:t>Tackling Big Data with Hadoop service via </a:t>
                      </a:r>
                      <a:r>
                        <a:rPr lang="en-US" sz="1100" u="none" strike="noStrike" dirty="0" smtClean="0">
                          <a:effectLst/>
                        </a:rPr>
                        <a:t>Cloud  </a:t>
                      </a:r>
                      <a:endParaRPr lang="en-US" sz="1100" b="0"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b"/>
                      <a:r>
                        <a:rPr lang="en-US" sz="1100" b="0" u="none" strike="noStrike" dirty="0" err="1" smtClean="0">
                          <a:effectLst/>
                        </a:rPr>
                        <a:t>Suraj</a:t>
                      </a:r>
                      <a:r>
                        <a:rPr lang="en-US" sz="1100" b="0" u="none" strike="noStrike" dirty="0" smtClean="0">
                          <a:effectLst/>
                        </a:rPr>
                        <a:t> Pandey</a:t>
                      </a:r>
                    </a:p>
                    <a:p>
                      <a:pPr algn="ctr" fontAlgn="b"/>
                      <a:r>
                        <a:rPr lang="en-AU" sz="1100" dirty="0" smtClean="0">
                          <a:solidFill>
                            <a:schemeClr val="tx1"/>
                          </a:solidFill>
                        </a:rPr>
                        <a:t>Technical</a:t>
                      </a:r>
                      <a:r>
                        <a:rPr lang="en-AU" sz="1100" baseline="0" dirty="0" smtClean="0">
                          <a:solidFill>
                            <a:schemeClr val="tx1"/>
                          </a:solidFill>
                        </a:rPr>
                        <a:t> Lead.</a:t>
                      </a:r>
                    </a:p>
                    <a:p>
                      <a:pPr algn="ctr" fontAlgn="b"/>
                      <a:r>
                        <a:rPr lang="en-AU" sz="1100" dirty="0" smtClean="0">
                          <a:solidFill>
                            <a:schemeClr val="tx1"/>
                          </a:solidFill>
                        </a:rPr>
                        <a:t>Cloud</a:t>
                      </a:r>
                      <a:r>
                        <a:rPr lang="en-AU" sz="1100" baseline="0" dirty="0" smtClean="0">
                          <a:solidFill>
                            <a:schemeClr val="tx1"/>
                          </a:solidFill>
                        </a:rPr>
                        <a:t> Data Services, IBM A/NZ.</a:t>
                      </a:r>
                      <a:endParaRPr lang="en-AU" sz="1100" spc="44" dirty="0">
                        <a:solidFill>
                          <a:schemeClr val="tx1"/>
                        </a:solidFil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50726">
                <a:tc>
                  <a:txBody>
                    <a:bodyPr/>
                    <a:lstStyle/>
                    <a:p>
                      <a:pPr algn="ctr" fontAlgn="b"/>
                      <a:r>
                        <a:rPr lang="en-US" sz="1100" u="none" strike="noStrike" dirty="0">
                          <a:effectLst/>
                        </a:rPr>
                        <a:t>IBM and Spark for future fast analytics. </a:t>
                      </a:r>
                      <a:endParaRPr lang="en-US" sz="1100" b="0"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vMerge="1">
                  <a:txBody>
                    <a:bodyPr/>
                    <a:lstStyle/>
                    <a:p>
                      <a:pPr algn="ctr" fontAlgn="b"/>
                      <a:endParaRPr lang="en-US" sz="1100" b="0" i="0" u="none" strike="noStrike" dirty="0">
                        <a:solidFill>
                          <a:srgbClr val="000000"/>
                        </a:solidFill>
                        <a:effectLst/>
                        <a:latin typeface="Arial"/>
                        <a:cs typeface="Arial"/>
                      </a:endParaRPr>
                    </a:p>
                  </a:txBody>
                  <a:tcPr marL="4444" marR="4444" marT="4444"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550726">
                <a:tc>
                  <a:txBody>
                    <a:bodyPr/>
                    <a:lstStyle/>
                    <a:p>
                      <a:pPr algn="ctr" fontAlgn="b"/>
                      <a:r>
                        <a:rPr lang="en-US" sz="1100" b="0" i="0" u="none" strike="noStrike" dirty="0" smtClean="0">
                          <a:solidFill>
                            <a:srgbClr val="000000"/>
                          </a:solidFill>
                          <a:effectLst/>
                          <a:latin typeface="Arial"/>
                          <a:cs typeface="Arial"/>
                        </a:rPr>
                        <a:t>A customer’s Journey to</a:t>
                      </a:r>
                      <a:r>
                        <a:rPr lang="en-US" sz="1100" b="0" i="0" u="none" strike="noStrike" baseline="0" dirty="0" smtClean="0">
                          <a:solidFill>
                            <a:srgbClr val="000000"/>
                          </a:solidFill>
                          <a:effectLst/>
                          <a:latin typeface="Arial"/>
                          <a:cs typeface="Arial"/>
                        </a:rPr>
                        <a:t> Cloud, local customer story</a:t>
                      </a:r>
                      <a:endParaRPr lang="en-US" sz="1100" b="0" i="0" u="none" strike="noStrike" dirty="0">
                        <a:solidFill>
                          <a:srgbClr val="000000"/>
                        </a:solidFill>
                        <a:effectLst/>
                        <a:latin typeface="Arial"/>
                        <a:cs typeface="Arial"/>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David Sloan</a:t>
                      </a: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Sales Lead</a:t>
                      </a:r>
                    </a:p>
                    <a:p>
                      <a:pPr marL="0" marR="0" indent="0" algn="ctr" defTabSz="457200" rtl="0" eaLnBrk="1" fontAlgn="b" latinLnBrk="0" hangingPunct="1">
                        <a:lnSpc>
                          <a:spcPct val="100000"/>
                        </a:lnSpc>
                        <a:spcBef>
                          <a:spcPts val="0"/>
                        </a:spcBef>
                        <a:spcAft>
                          <a:spcPts val="0"/>
                        </a:spcAft>
                        <a:buClrTx/>
                        <a:buSzTx/>
                        <a:buFontTx/>
                        <a:buNone/>
                        <a:tabLst/>
                        <a:defRPr/>
                      </a:pPr>
                      <a:r>
                        <a:rPr lang="en-AU" sz="1100" dirty="0" smtClean="0">
                          <a:solidFill>
                            <a:srgbClr val="000000"/>
                          </a:solidFill>
                          <a:latin typeface="+mn-lt"/>
                        </a:rPr>
                        <a:t>Cloud Data Services,</a:t>
                      </a:r>
                      <a:r>
                        <a:rPr lang="en-AU" sz="1100" baseline="0" dirty="0" smtClean="0">
                          <a:solidFill>
                            <a:srgbClr val="000000"/>
                          </a:solidFill>
                          <a:latin typeface="+mn-lt"/>
                        </a:rPr>
                        <a:t> IBM A/NZ</a:t>
                      </a:r>
                      <a:endParaRPr lang="en-AU" sz="1100" dirty="0" smtClean="0">
                        <a:solidFill>
                          <a:srgbClr val="000000"/>
                        </a:solidFill>
                        <a:latin typeface="+mn-lt"/>
                      </a:endParaRPr>
                    </a:p>
                    <a:p>
                      <a:pPr algn="ctr" rtl="0">
                        <a:buSzPts val="1100"/>
                        <a:buFont typeface="Symbol" panose="05050102010706020507" pitchFamily="18" charset="2"/>
                        <a:buNone/>
                      </a:pPr>
                      <a:endParaRPr lang="en-AU" sz="1100" dirty="0">
                        <a:latin typeface="+mn-lt"/>
                      </a:endParaRPr>
                    </a:p>
                  </a:txBody>
                  <a:tcPr marL="4444" marR="4444" marT="4444"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Title 1"/>
          <p:cNvSpPr>
            <a:spLocks noGrp="1"/>
          </p:cNvSpPr>
          <p:nvPr>
            <p:ph type="title"/>
          </p:nvPr>
        </p:nvSpPr>
        <p:spPr>
          <a:xfrm>
            <a:off x="1060570" y="366543"/>
            <a:ext cx="7748468" cy="415529"/>
          </a:xfrm>
        </p:spPr>
        <p:txBody>
          <a:bodyPr/>
          <a:lstStyle/>
          <a:p>
            <a:r>
              <a:rPr lang="en-US" dirty="0" smtClean="0"/>
              <a:t>Today’s Agenda</a:t>
            </a:r>
            <a:endParaRPr lang="en-US" dirty="0"/>
          </a:p>
        </p:txBody>
      </p:sp>
    </p:spTree>
    <p:extLst>
      <p:ext uri="{BB962C8B-B14F-4D97-AF65-F5344CB8AC3E}">
        <p14:creationId xmlns:p14="http://schemas.microsoft.com/office/powerpoint/2010/main" val="1134188143"/>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77749" y="88596"/>
            <a:ext cx="6004827" cy="5143500"/>
          </a:xfrm>
          <a:prstGeom prst="rect">
            <a:avLst/>
          </a:prstGeom>
        </p:spPr>
      </p:pic>
    </p:spTree>
    <p:extLst>
      <p:ext uri="{BB962C8B-B14F-4D97-AF65-F5344CB8AC3E}">
        <p14:creationId xmlns:p14="http://schemas.microsoft.com/office/powerpoint/2010/main" val="326521494"/>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Shape 25"/>
          <p:cNvSpPr/>
          <p:nvPr/>
        </p:nvSpPr>
        <p:spPr>
          <a:xfrm>
            <a:off x="1053240" y="1943912"/>
            <a:ext cx="6968941" cy="654025"/>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nSpc>
                <a:spcPts val="5130"/>
              </a:lnSpc>
            </a:pPr>
            <a:r>
              <a:rPr sz="3420" b="1" dirty="0">
                <a:solidFill>
                  <a:srgbClr val="FFFFFF"/>
                </a:solidFill>
              </a:rPr>
              <a:t>The </a:t>
            </a:r>
            <a:r>
              <a:rPr lang="en-AU" sz="3420" b="1" dirty="0">
                <a:solidFill>
                  <a:srgbClr val="FFFFFF"/>
                </a:solidFill>
              </a:rPr>
              <a:t>real world—lessons learnt</a:t>
            </a:r>
            <a:endParaRPr sz="3420" b="1" dirty="0">
              <a:solidFill>
                <a:srgbClr val="FFFFFF"/>
              </a:solidFill>
            </a:endParaRPr>
          </a:p>
        </p:txBody>
      </p:sp>
      <p:sp>
        <p:nvSpPr>
          <p:cNvPr id="26" name="Shape 26"/>
          <p:cNvSpPr/>
          <p:nvPr/>
        </p:nvSpPr>
        <p:spPr>
          <a:xfrm>
            <a:off x="1053239" y="1707103"/>
            <a:ext cx="2952090" cy="304699"/>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2200" spc="44">
                <a:solidFill>
                  <a:srgbClr val="CEE8F9"/>
                </a:solidFill>
              </a:defRPr>
            </a:lvl1pPr>
          </a:lstStyle>
          <a:p>
            <a:pPr lvl="0">
              <a:defRPr sz="1800" spc="0">
                <a:solidFill>
                  <a:srgbClr val="000000"/>
                </a:solidFill>
              </a:defRPr>
            </a:pPr>
            <a:r>
              <a:rPr lang="en-US" sz="1980" spc="40" dirty="0"/>
              <a:t>IBM Cloud Data Services</a:t>
            </a:r>
            <a:endParaRPr sz="1980" spc="40" dirty="0"/>
          </a:p>
        </p:txBody>
      </p:sp>
      <p:pic>
        <p:nvPicPr>
          <p:cNvPr id="27" name="IBM_8Bar-White.png"/>
          <p:cNvPicPr/>
          <p:nvPr/>
        </p:nvPicPr>
        <p:blipFill>
          <a:blip r:embed="rId2" cstate="screen">
            <a:extLst>
              <a:ext uri="{28A0092B-C50C-407E-A947-70E740481C1C}">
                <a14:useLocalDpi xmlns:a14="http://schemas.microsoft.com/office/drawing/2010/main"/>
              </a:ext>
            </a:extLst>
          </a:blip>
          <a:stretch>
            <a:fillRect/>
          </a:stretch>
        </p:blipFill>
        <p:spPr>
          <a:xfrm>
            <a:off x="1058519" y="475916"/>
            <a:ext cx="722174" cy="451359"/>
          </a:xfrm>
          <a:prstGeom prst="rect">
            <a:avLst/>
          </a:prstGeom>
          <a:ln w="12700">
            <a:miter lim="400000"/>
          </a:ln>
        </p:spPr>
      </p:pic>
      <p:grpSp>
        <p:nvGrpSpPr>
          <p:cNvPr id="5" name="Group 4"/>
          <p:cNvGrpSpPr/>
          <p:nvPr/>
        </p:nvGrpSpPr>
        <p:grpSpPr>
          <a:xfrm>
            <a:off x="2818259" y="3062793"/>
            <a:ext cx="3673014" cy="515776"/>
            <a:chOff x="903369" y="4020683"/>
            <a:chExt cx="4838627" cy="687701"/>
          </a:xfrm>
        </p:grpSpPr>
        <p:grpSp>
          <p:nvGrpSpPr>
            <p:cNvPr id="41" name="Group 41"/>
            <p:cNvGrpSpPr/>
            <p:nvPr/>
          </p:nvGrpSpPr>
          <p:grpSpPr>
            <a:xfrm>
              <a:off x="903369" y="4020684"/>
              <a:ext cx="2798326" cy="687696"/>
              <a:chOff x="0" y="0"/>
              <a:chExt cx="2798323" cy="687693"/>
            </a:xfrm>
          </p:grpSpPr>
          <p:grpSp>
            <p:nvGrpSpPr>
              <p:cNvPr id="39" name="Group 39"/>
              <p:cNvGrpSpPr/>
              <p:nvPr/>
            </p:nvGrpSpPr>
            <p:grpSpPr>
              <a:xfrm>
                <a:off x="-1" y="0"/>
                <a:ext cx="2798325" cy="687694"/>
                <a:chOff x="0" y="0"/>
                <a:chExt cx="2798323" cy="687693"/>
              </a:xfrm>
            </p:grpSpPr>
            <p:grpSp>
              <p:nvGrpSpPr>
                <p:cNvPr id="37" name="Group 37"/>
                <p:cNvGrpSpPr/>
                <p:nvPr/>
              </p:nvGrpSpPr>
              <p:grpSpPr>
                <a:xfrm>
                  <a:off x="-1" y="0"/>
                  <a:ext cx="2798325" cy="687694"/>
                  <a:chOff x="0" y="0"/>
                  <a:chExt cx="2798323" cy="687693"/>
                </a:xfrm>
              </p:grpSpPr>
              <p:grpSp>
                <p:nvGrpSpPr>
                  <p:cNvPr id="30" name="Group 30"/>
                  <p:cNvGrpSpPr/>
                  <p:nvPr/>
                </p:nvGrpSpPr>
                <p:grpSpPr>
                  <a:xfrm>
                    <a:off x="-1" y="0"/>
                    <a:ext cx="783950" cy="687694"/>
                    <a:chOff x="0" y="0"/>
                    <a:chExt cx="783948" cy="687693"/>
                  </a:xfrm>
                </p:grpSpPr>
                <p:sp>
                  <p:nvSpPr>
                    <p:cNvPr id="28" name="Shape 28"/>
                    <p:cNvSpPr/>
                    <p:nvPr/>
                  </p:nvSpPr>
                  <p:spPr>
                    <a:xfrm>
                      <a:off x="0" y="-1"/>
                      <a:ext cx="783949" cy="68769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737" y="0"/>
                          </a:lnTo>
                          <a:lnTo>
                            <a:pt x="16863" y="0"/>
                          </a:lnTo>
                          <a:lnTo>
                            <a:pt x="21600" y="10800"/>
                          </a:lnTo>
                          <a:lnTo>
                            <a:pt x="16863" y="21600"/>
                          </a:lnTo>
                          <a:lnTo>
                            <a:pt x="4737" y="21600"/>
                          </a:lnTo>
                          <a:close/>
                        </a:path>
                      </a:pathLst>
                    </a:custGeom>
                    <a:solidFill>
                      <a:srgbClr val="E6F6FD"/>
                    </a:solidFill>
                    <a:ln w="38100" cap="flat">
                      <a:solidFill>
                        <a:srgbClr val="FFFFFF"/>
                      </a:solidFill>
                      <a:prstDash val="solid"/>
                      <a:miter lim="800000"/>
                    </a:ln>
                    <a:effectLst>
                      <a:outerShdw blurRad="38100" dist="20000" dir="5400000" rotWithShape="0">
                        <a:srgbClr val="808080">
                          <a:alpha val="37999"/>
                        </a:srgbClr>
                      </a:outerShdw>
                    </a:effectLst>
                  </p:spPr>
                  <p:txBody>
                    <a:bodyPr wrap="square" lIns="0" tIns="0" rIns="0" bIns="0" numCol="1" anchor="ctr">
                      <a:noAutofit/>
                    </a:bodyPr>
                    <a:lstStyle/>
                    <a:p>
                      <a:pPr algn="ctr" defTabSz="822960">
                        <a:defRPr>
                          <a:solidFill>
                            <a:srgbClr val="FFFFFF"/>
                          </a:solidFill>
                        </a:defRPr>
                      </a:pPr>
                      <a:endParaRPr/>
                    </a:p>
                  </p:txBody>
                </p:sp>
                <p:pic>
                  <p:nvPicPr>
                    <p:cNvPr id="29" name="image5.png" descr="Cloudant NoSQL DB: Cloudant NoSQL DB provides access to a fully managed NoSQL JSON data layer that's always on. This service is compatible with CouchDB, and accessible through a simple to use HTTP interface for mobile and web application models"/>
                    <p:cNvPicPr/>
                    <p:nvPr/>
                  </p:nvPicPr>
                  <p:blipFill>
                    <a:blip r:embed="rId3">
                      <a:extLst/>
                    </a:blip>
                    <a:stretch>
                      <a:fillRect/>
                    </a:stretch>
                  </p:blipFill>
                  <p:spPr>
                    <a:xfrm>
                      <a:off x="136221" y="88647"/>
                      <a:ext cx="511506" cy="510399"/>
                    </a:xfrm>
                    <a:prstGeom prst="rect">
                      <a:avLst/>
                    </a:prstGeom>
                    <a:ln w="12700" cap="flat">
                      <a:noFill/>
                      <a:miter lim="400000"/>
                    </a:ln>
                    <a:effectLst/>
                  </p:spPr>
                </p:pic>
              </p:grpSp>
              <p:grpSp>
                <p:nvGrpSpPr>
                  <p:cNvPr id="33" name="Group 33"/>
                  <p:cNvGrpSpPr/>
                  <p:nvPr/>
                </p:nvGrpSpPr>
                <p:grpSpPr>
                  <a:xfrm>
                    <a:off x="1000809" y="0"/>
                    <a:ext cx="764235" cy="687694"/>
                    <a:chOff x="0" y="0"/>
                    <a:chExt cx="764233" cy="687693"/>
                  </a:xfrm>
                </p:grpSpPr>
                <p:sp>
                  <p:nvSpPr>
                    <p:cNvPr id="31" name="Shape 31"/>
                    <p:cNvSpPr/>
                    <p:nvPr/>
                  </p:nvSpPr>
                  <p:spPr>
                    <a:xfrm>
                      <a:off x="0" y="-1"/>
                      <a:ext cx="764234" cy="68769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859" y="0"/>
                          </a:lnTo>
                          <a:lnTo>
                            <a:pt x="16741" y="0"/>
                          </a:lnTo>
                          <a:lnTo>
                            <a:pt x="21600" y="10800"/>
                          </a:lnTo>
                          <a:lnTo>
                            <a:pt x="16741" y="21600"/>
                          </a:lnTo>
                          <a:lnTo>
                            <a:pt x="4859" y="21600"/>
                          </a:lnTo>
                          <a:close/>
                        </a:path>
                      </a:pathLst>
                    </a:custGeom>
                    <a:solidFill>
                      <a:srgbClr val="E6F6FD"/>
                    </a:solidFill>
                    <a:ln w="38100" cap="flat">
                      <a:solidFill>
                        <a:srgbClr val="FFFFFF"/>
                      </a:solidFill>
                      <a:prstDash val="solid"/>
                      <a:miter lim="800000"/>
                    </a:ln>
                    <a:effectLst>
                      <a:outerShdw blurRad="38100" dist="20000" dir="5400000" rotWithShape="0">
                        <a:srgbClr val="808080">
                          <a:alpha val="37999"/>
                        </a:srgbClr>
                      </a:outerShdw>
                    </a:effectLst>
                  </p:spPr>
                  <p:txBody>
                    <a:bodyPr wrap="square" lIns="0" tIns="0" rIns="0" bIns="0" numCol="1" anchor="ctr">
                      <a:noAutofit/>
                    </a:bodyPr>
                    <a:lstStyle/>
                    <a:p>
                      <a:pPr algn="ctr" defTabSz="822960">
                        <a:defRPr>
                          <a:solidFill>
                            <a:srgbClr val="FFFFFF"/>
                          </a:solidFill>
                        </a:defRPr>
                      </a:pPr>
                      <a:endParaRPr/>
                    </a:p>
                  </p:txBody>
                </p:sp>
                <p:pic>
                  <p:nvPicPr>
                    <p:cNvPr id="32" name="image6.png" descr="dashDB: Store relational data, including special types such as geospatial data, and analyze it with SQL, R, and built-in predictive and geospatial analytics functions."/>
                    <p:cNvPicPr/>
                    <p:nvPr/>
                  </p:nvPicPr>
                  <p:blipFill>
                    <a:blip r:embed="rId4">
                      <a:extLst/>
                    </a:blip>
                    <a:stretch>
                      <a:fillRect/>
                    </a:stretch>
                  </p:blipFill>
                  <p:spPr>
                    <a:xfrm>
                      <a:off x="174787" y="107452"/>
                      <a:ext cx="429882" cy="440017"/>
                    </a:xfrm>
                    <a:prstGeom prst="rect">
                      <a:avLst/>
                    </a:prstGeom>
                    <a:ln w="12700" cap="flat">
                      <a:noFill/>
                      <a:miter lim="400000"/>
                    </a:ln>
                    <a:effectLst/>
                  </p:spPr>
                </p:pic>
              </p:grpSp>
              <p:grpSp>
                <p:nvGrpSpPr>
                  <p:cNvPr id="36" name="Group 36"/>
                  <p:cNvGrpSpPr/>
                  <p:nvPr/>
                </p:nvGrpSpPr>
                <p:grpSpPr>
                  <a:xfrm>
                    <a:off x="1991181" y="0"/>
                    <a:ext cx="807143" cy="687694"/>
                    <a:chOff x="0" y="0"/>
                    <a:chExt cx="807141" cy="687693"/>
                  </a:xfrm>
                </p:grpSpPr>
                <p:sp>
                  <p:nvSpPr>
                    <p:cNvPr id="34" name="Shape 34"/>
                    <p:cNvSpPr/>
                    <p:nvPr/>
                  </p:nvSpPr>
                  <p:spPr>
                    <a:xfrm>
                      <a:off x="0" y="-1"/>
                      <a:ext cx="807142" cy="687695"/>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01" y="0"/>
                          </a:lnTo>
                          <a:lnTo>
                            <a:pt x="16999" y="0"/>
                          </a:lnTo>
                          <a:lnTo>
                            <a:pt x="21600" y="10800"/>
                          </a:lnTo>
                          <a:lnTo>
                            <a:pt x="16999" y="21600"/>
                          </a:lnTo>
                          <a:lnTo>
                            <a:pt x="4601" y="21600"/>
                          </a:lnTo>
                          <a:close/>
                        </a:path>
                      </a:pathLst>
                    </a:custGeom>
                    <a:solidFill>
                      <a:srgbClr val="E6F6FD"/>
                    </a:solidFill>
                    <a:ln w="38100" cap="flat">
                      <a:solidFill>
                        <a:srgbClr val="FFFFFF"/>
                      </a:solidFill>
                      <a:prstDash val="solid"/>
                      <a:miter lim="800000"/>
                    </a:ln>
                    <a:effectLst>
                      <a:outerShdw blurRad="38100" dist="20000" dir="5400000" rotWithShape="0">
                        <a:srgbClr val="808080">
                          <a:alpha val="37999"/>
                        </a:srgbClr>
                      </a:outerShdw>
                    </a:effectLst>
                  </p:spPr>
                  <p:txBody>
                    <a:bodyPr wrap="square" lIns="0" tIns="0" rIns="0" bIns="0" numCol="1" anchor="ctr">
                      <a:noAutofit/>
                    </a:bodyPr>
                    <a:lstStyle/>
                    <a:p>
                      <a:pPr algn="ctr" defTabSz="822960">
                        <a:defRPr>
                          <a:solidFill>
                            <a:srgbClr val="FFFFFF"/>
                          </a:solidFill>
                        </a:defRPr>
                      </a:pPr>
                      <a:endParaRPr/>
                    </a:p>
                  </p:txBody>
                </p:sp>
                <p:pic>
                  <p:nvPicPr>
                    <p:cNvPr id="35" name="image7.png" descr="BigInsights for Hadoop: One or more bare metal IBM BigInsights for Hadoop clusters"/>
                    <p:cNvPicPr/>
                    <p:nvPr/>
                  </p:nvPicPr>
                  <p:blipFill>
                    <a:blip r:embed="rId5">
                      <a:extLst/>
                    </a:blip>
                    <a:stretch>
                      <a:fillRect/>
                    </a:stretch>
                  </p:blipFill>
                  <p:spPr>
                    <a:xfrm>
                      <a:off x="140252" y="88647"/>
                      <a:ext cx="526638" cy="510399"/>
                    </a:xfrm>
                    <a:prstGeom prst="rect">
                      <a:avLst/>
                    </a:prstGeom>
                    <a:ln w="12700" cap="flat">
                      <a:noFill/>
                      <a:miter lim="400000"/>
                    </a:ln>
                    <a:effectLst/>
                  </p:spPr>
                </p:pic>
              </p:grpSp>
            </p:grpSp>
            <p:pic>
              <p:nvPicPr>
                <p:cNvPr id="38" name="image84.png"/>
                <p:cNvPicPr/>
                <p:nvPr/>
              </p:nvPicPr>
              <p:blipFill>
                <a:blip r:embed="rId6">
                  <a:extLst/>
                </a:blip>
                <a:stretch>
                  <a:fillRect/>
                </a:stretch>
              </p:blipFill>
              <p:spPr>
                <a:xfrm>
                  <a:off x="2103033" y="44418"/>
                  <a:ext cx="598858" cy="598857"/>
                </a:xfrm>
                <a:prstGeom prst="rect">
                  <a:avLst/>
                </a:prstGeom>
                <a:ln w="12700" cap="flat">
                  <a:noFill/>
                  <a:miter lim="400000"/>
                </a:ln>
                <a:effectLst/>
              </p:spPr>
            </p:pic>
          </p:grpSp>
          <p:pic>
            <p:nvPicPr>
              <p:cNvPr id="40" name="image38.png"/>
              <p:cNvPicPr/>
              <p:nvPr/>
            </p:nvPicPr>
            <p:blipFill>
              <a:blip r:embed="rId7" cstate="screen">
                <a:extLst>
                  <a:ext uri="{28A0092B-C50C-407E-A947-70E740481C1C}">
                    <a14:useLocalDpi xmlns:a14="http://schemas.microsoft.com/office/drawing/2010/main"/>
                  </a:ext>
                </a:extLst>
              </a:blip>
              <a:srcRect/>
              <a:stretch>
                <a:fillRect/>
              </a:stretch>
            </p:blipFill>
            <p:spPr>
              <a:xfrm>
                <a:off x="163299" y="104495"/>
                <a:ext cx="537731" cy="478704"/>
              </a:xfrm>
              <a:prstGeom prst="rect">
                <a:avLst/>
              </a:prstGeom>
              <a:ln w="12700" cap="flat">
                <a:noFill/>
                <a:miter lim="400000"/>
              </a:ln>
              <a:effectLst/>
            </p:spPr>
          </p:pic>
        </p:grpSp>
        <p:sp>
          <p:nvSpPr>
            <p:cNvPr id="42" name="Shape 42"/>
            <p:cNvSpPr/>
            <p:nvPr/>
          </p:nvSpPr>
          <p:spPr>
            <a:xfrm>
              <a:off x="2991394" y="4086423"/>
              <a:ext cx="646505" cy="570543"/>
            </a:xfrm>
            <a:custGeom>
              <a:avLst/>
              <a:gdLst/>
              <a:ahLst/>
              <a:cxnLst>
                <a:cxn ang="0">
                  <a:pos x="wd2" y="hd2"/>
                </a:cxn>
                <a:cxn ang="5400000">
                  <a:pos x="wd2" y="hd2"/>
                </a:cxn>
                <a:cxn ang="10800000">
                  <a:pos x="wd2" y="hd2"/>
                </a:cxn>
                <a:cxn ang="16200000">
                  <a:pos x="wd2" y="hd2"/>
                </a:cxn>
              </a:cxnLst>
              <a:rect l="0" t="0" r="r" b="b"/>
              <a:pathLst>
                <a:path w="21600" h="21600" extrusionOk="0">
                  <a:moveTo>
                    <a:pt x="4276" y="125"/>
                  </a:moveTo>
                  <a:lnTo>
                    <a:pt x="16700" y="0"/>
                  </a:lnTo>
                  <a:lnTo>
                    <a:pt x="21600" y="10823"/>
                  </a:lnTo>
                  <a:lnTo>
                    <a:pt x="16877" y="21600"/>
                  </a:lnTo>
                  <a:lnTo>
                    <a:pt x="3624" y="21238"/>
                  </a:lnTo>
                  <a:lnTo>
                    <a:pt x="311" y="14924"/>
                  </a:lnTo>
                  <a:lnTo>
                    <a:pt x="0" y="9773"/>
                  </a:lnTo>
                  <a:lnTo>
                    <a:pt x="4276" y="125"/>
                  </a:lnTo>
                  <a:close/>
                </a:path>
              </a:pathLst>
            </a:custGeom>
            <a:solidFill>
              <a:srgbClr val="E6F6FD"/>
            </a:solidFill>
            <a:ln w="12700" cap="flat">
              <a:noFill/>
              <a:miter lim="400000"/>
            </a:ln>
            <a:effectLst/>
          </p:spPr>
          <p:txBody>
            <a:bodyPr wrap="square" lIns="0" tIns="0" rIns="0" bIns="0" numCol="1" anchor="t">
              <a:noAutofit/>
            </a:bodyPr>
            <a:lstStyle/>
            <a:p>
              <a:pPr lvl="0">
                <a:defRPr sz="1200">
                  <a:latin typeface="+mj-lt"/>
                  <a:ea typeface="+mj-ea"/>
                  <a:cs typeface="+mj-cs"/>
                  <a:sym typeface="Helvetica"/>
                </a:defRPr>
              </a:pPr>
              <a:endParaRPr sz="1080"/>
            </a:p>
          </p:txBody>
        </p:sp>
        <p:pic>
          <p:nvPicPr>
            <p:cNvPr id="43" name="pasted-image.pdf"/>
            <p:cNvPicPr/>
            <p:nvPr/>
          </p:nvPicPr>
          <p:blipFill>
            <a:blip r:embed="rId8" cstate="screen">
              <a:extLst>
                <a:ext uri="{28A0092B-C50C-407E-A947-70E740481C1C}">
                  <a14:useLocalDpi xmlns:a14="http://schemas.microsoft.com/office/drawing/2010/main"/>
                </a:ext>
              </a:extLst>
            </a:blip>
            <a:stretch>
              <a:fillRect/>
            </a:stretch>
          </p:blipFill>
          <p:spPr>
            <a:xfrm>
              <a:off x="3027612" y="4211564"/>
              <a:ext cx="548669" cy="305937"/>
            </a:xfrm>
            <a:prstGeom prst="rect">
              <a:avLst/>
            </a:prstGeom>
            <a:ln w="12700" cap="flat">
              <a:noFill/>
              <a:miter lim="400000"/>
            </a:ln>
            <a:effectLst/>
          </p:spPr>
        </p:pic>
        <p:sp>
          <p:nvSpPr>
            <p:cNvPr id="45" name="Shape 34"/>
            <p:cNvSpPr/>
            <p:nvPr/>
          </p:nvSpPr>
          <p:spPr>
            <a:xfrm>
              <a:off x="3959373" y="4020683"/>
              <a:ext cx="807146" cy="687701"/>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01" y="0"/>
                  </a:lnTo>
                  <a:lnTo>
                    <a:pt x="16999" y="0"/>
                  </a:lnTo>
                  <a:lnTo>
                    <a:pt x="21600" y="10800"/>
                  </a:lnTo>
                  <a:lnTo>
                    <a:pt x="16999" y="21600"/>
                  </a:lnTo>
                  <a:lnTo>
                    <a:pt x="4601" y="21600"/>
                  </a:lnTo>
                  <a:close/>
                </a:path>
              </a:pathLst>
            </a:custGeom>
            <a:solidFill>
              <a:srgbClr val="E6F6FD"/>
            </a:solidFill>
            <a:ln w="38100" cap="flat">
              <a:solidFill>
                <a:srgbClr val="FFFFFF"/>
              </a:solidFill>
              <a:prstDash val="solid"/>
              <a:miter lim="800000"/>
            </a:ln>
            <a:effectLst>
              <a:outerShdw blurRad="38100" dist="20000" dir="5400000" rotWithShape="0">
                <a:srgbClr val="808080">
                  <a:alpha val="37999"/>
                </a:srgbClr>
              </a:outerShdw>
            </a:effectLst>
          </p:spPr>
          <p:txBody>
            <a:bodyPr wrap="square" lIns="0" tIns="0" rIns="0" bIns="0" numCol="1" anchor="ctr">
              <a:noAutofit/>
            </a:bodyPr>
            <a:lstStyle/>
            <a:p>
              <a:pPr algn="ctr" defTabSz="822960">
                <a:defRPr>
                  <a:solidFill>
                    <a:srgbClr val="FFFFFF"/>
                  </a:solidFill>
                </a:defRPr>
              </a:pPr>
              <a:endParaRPr/>
            </a:p>
          </p:txBody>
        </p:sp>
        <p:pic>
          <p:nvPicPr>
            <p:cNvPr id="3" name="Picture 2"/>
            <p:cNvPicPr>
              <a:picLocks noChangeAspect="1"/>
            </p:cNvPicPr>
            <p:nvPr/>
          </p:nvPicPr>
          <p:blipFill>
            <a:blip r:embed="rId9"/>
            <a:stretch>
              <a:fillRect/>
            </a:stretch>
          </p:blipFill>
          <p:spPr>
            <a:xfrm>
              <a:off x="4099217" y="4065102"/>
              <a:ext cx="536913" cy="536913"/>
            </a:xfrm>
            <a:prstGeom prst="rect">
              <a:avLst/>
            </a:prstGeom>
          </p:spPr>
        </p:pic>
        <p:sp>
          <p:nvSpPr>
            <p:cNvPr id="46" name="Shape 34"/>
            <p:cNvSpPr/>
            <p:nvPr/>
          </p:nvSpPr>
          <p:spPr>
            <a:xfrm>
              <a:off x="4934850" y="4020683"/>
              <a:ext cx="807146" cy="687701"/>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lnTo>
                    <a:pt x="4601" y="0"/>
                  </a:lnTo>
                  <a:lnTo>
                    <a:pt x="16999" y="0"/>
                  </a:lnTo>
                  <a:lnTo>
                    <a:pt x="21600" y="10800"/>
                  </a:lnTo>
                  <a:lnTo>
                    <a:pt x="16999" y="21600"/>
                  </a:lnTo>
                  <a:lnTo>
                    <a:pt x="4601" y="21600"/>
                  </a:lnTo>
                  <a:close/>
                </a:path>
              </a:pathLst>
            </a:custGeom>
            <a:solidFill>
              <a:srgbClr val="E6F6FD"/>
            </a:solidFill>
            <a:ln w="38100" cap="flat">
              <a:solidFill>
                <a:srgbClr val="FFFFFF"/>
              </a:solidFill>
              <a:prstDash val="solid"/>
              <a:miter lim="800000"/>
            </a:ln>
            <a:effectLst>
              <a:outerShdw blurRad="38100" dist="20000" dir="5400000" rotWithShape="0">
                <a:srgbClr val="808080">
                  <a:alpha val="37999"/>
                </a:srgbClr>
              </a:outerShdw>
            </a:effectLst>
          </p:spPr>
          <p:txBody>
            <a:bodyPr wrap="square" lIns="0" tIns="0" rIns="0" bIns="0" numCol="1" anchor="ctr">
              <a:noAutofit/>
            </a:bodyPr>
            <a:lstStyle/>
            <a:p>
              <a:pPr algn="ctr" defTabSz="822960">
                <a:defRPr>
                  <a:solidFill>
                    <a:srgbClr val="FFFFFF"/>
                  </a:solidFill>
                </a:defRPr>
              </a:pPr>
              <a:endParaRPr/>
            </a:p>
          </p:txBody>
        </p:sp>
        <p:pic>
          <p:nvPicPr>
            <p:cNvPr id="4" name="Picture 3"/>
            <p:cNvPicPr>
              <a:picLocks noChangeAspect="1"/>
            </p:cNvPicPr>
            <p:nvPr/>
          </p:nvPicPr>
          <p:blipFill>
            <a:blip r:embed="rId10"/>
            <a:stretch>
              <a:fillRect/>
            </a:stretch>
          </p:blipFill>
          <p:spPr>
            <a:xfrm>
              <a:off x="5073040" y="4086618"/>
              <a:ext cx="552541" cy="552541"/>
            </a:xfrm>
            <a:prstGeom prst="rect">
              <a:avLst/>
            </a:prstGeom>
          </p:spPr>
        </p:pic>
      </p:grpSp>
      <p:sp>
        <p:nvSpPr>
          <p:cNvPr id="44" name="Shape 26"/>
          <p:cNvSpPr/>
          <p:nvPr/>
        </p:nvSpPr>
        <p:spPr>
          <a:xfrm>
            <a:off x="1053240" y="4315325"/>
            <a:ext cx="2564805" cy="249299"/>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spAutoFit/>
          </a:bodyPr>
          <a:lstStyle>
            <a:lvl1pPr>
              <a:defRPr sz="2200" spc="44">
                <a:solidFill>
                  <a:srgbClr val="CEE8F9"/>
                </a:solidFill>
              </a:defRPr>
            </a:lvl1pPr>
          </a:lstStyle>
          <a:p>
            <a:pPr lvl="0">
              <a:defRPr sz="1800" spc="0">
                <a:solidFill>
                  <a:srgbClr val="000000"/>
                </a:solidFill>
              </a:defRPr>
            </a:pPr>
            <a:r>
              <a:rPr lang="en-US" sz="1620" dirty="0">
                <a:solidFill>
                  <a:schemeClr val="bg1"/>
                </a:solidFill>
              </a:rPr>
              <a:t>David Sloan CDS Specialist</a:t>
            </a:r>
            <a:endParaRPr sz="1980" spc="40" dirty="0">
              <a:solidFill>
                <a:schemeClr val="bg1"/>
              </a:solidFill>
            </a:endParaRPr>
          </a:p>
        </p:txBody>
      </p:sp>
    </p:spTree>
    <p:extLst>
      <p:ext uri="{BB962C8B-B14F-4D97-AF65-F5344CB8AC3E}">
        <p14:creationId xmlns:p14="http://schemas.microsoft.com/office/powerpoint/2010/main" val="2743901605"/>
      </p:ext>
    </p:extLst>
  </p:cSld>
  <p:clrMapOvr>
    <a:masterClrMapping/>
  </p:clrMapOvr>
  <p:transition spd="med"/>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How to be the smartest cloud person in the room</a:t>
            </a:r>
            <a:endParaRPr sz="2160" dirty="0"/>
          </a:p>
        </p:txBody>
      </p:sp>
      <p:sp>
        <p:nvSpPr>
          <p:cNvPr id="73" name="Shape 73"/>
          <p:cNvSpPr/>
          <p:nvPr/>
        </p:nvSpPr>
        <p:spPr>
          <a:xfrm>
            <a:off x="1742654" y="1062114"/>
            <a:ext cx="5074104" cy="29084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890" dirty="0"/>
              <a:t>memorise the following terms</a:t>
            </a:r>
            <a:endParaRPr sz="1890" dirty="0"/>
          </a:p>
        </p:txBody>
      </p:sp>
      <p:grpSp>
        <p:nvGrpSpPr>
          <p:cNvPr id="2" name="Group 1"/>
          <p:cNvGrpSpPr/>
          <p:nvPr/>
        </p:nvGrpSpPr>
        <p:grpSpPr>
          <a:xfrm>
            <a:off x="1830167" y="2977364"/>
            <a:ext cx="1981515" cy="808235"/>
            <a:chOff x="839528" y="2908218"/>
            <a:chExt cx="2201683" cy="898039"/>
          </a:xfrm>
        </p:grpSpPr>
        <p:sp>
          <p:nvSpPr>
            <p:cNvPr id="77" name="Shape 77"/>
            <p:cNvSpPr/>
            <p:nvPr/>
          </p:nvSpPr>
          <p:spPr>
            <a:xfrm>
              <a:off x="839528" y="2908218"/>
              <a:ext cx="220168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82" name="Shape 82"/>
            <p:cNvSpPr/>
            <p:nvPr/>
          </p:nvSpPr>
          <p:spPr>
            <a:xfrm>
              <a:off x="969498" y="3218737"/>
              <a:ext cx="195897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defTabSz="321404"/>
              <a:r>
                <a:rPr lang="en-AU" b="1" dirty="0" smtClean="0">
                  <a:solidFill>
                    <a:srgbClr val="FFFFFF"/>
                  </a:solidFill>
                </a:rPr>
                <a:t>Agility</a:t>
              </a:r>
            </a:p>
          </p:txBody>
        </p:sp>
      </p:grpSp>
      <p:grpSp>
        <p:nvGrpSpPr>
          <p:cNvPr id="3" name="Group 2"/>
          <p:cNvGrpSpPr/>
          <p:nvPr/>
        </p:nvGrpSpPr>
        <p:grpSpPr>
          <a:xfrm>
            <a:off x="1249482" y="1684009"/>
            <a:ext cx="2156544" cy="808235"/>
            <a:chOff x="3330264" y="2923522"/>
            <a:chExt cx="2396160" cy="898039"/>
          </a:xfrm>
        </p:grpSpPr>
        <p:sp>
          <p:nvSpPr>
            <p:cNvPr id="76" name="Shape 76"/>
            <p:cNvSpPr/>
            <p:nvPr/>
          </p:nvSpPr>
          <p:spPr>
            <a:xfrm>
              <a:off x="3330264" y="2923522"/>
              <a:ext cx="2396160"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0040">
                <a:defRPr sz="1200"/>
              </a:pPr>
              <a:endParaRPr sz="1080"/>
            </a:p>
          </p:txBody>
        </p:sp>
        <p:sp>
          <p:nvSpPr>
            <p:cNvPr id="83" name="Shape 83"/>
            <p:cNvSpPr/>
            <p:nvPr/>
          </p:nvSpPr>
          <p:spPr>
            <a:xfrm>
              <a:off x="3463384" y="3203349"/>
              <a:ext cx="213201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lang="en-AU" b="1" dirty="0" smtClean="0">
                  <a:solidFill>
                    <a:srgbClr val="FFFFFF"/>
                  </a:solidFill>
                </a:rPr>
                <a:t>Disruptive</a:t>
              </a:r>
            </a:p>
          </p:txBody>
        </p:sp>
      </p:grpSp>
      <p:grpSp>
        <p:nvGrpSpPr>
          <p:cNvPr id="4" name="Group 3"/>
          <p:cNvGrpSpPr/>
          <p:nvPr/>
        </p:nvGrpSpPr>
        <p:grpSpPr>
          <a:xfrm>
            <a:off x="4977469" y="3240437"/>
            <a:ext cx="2069832" cy="808235"/>
            <a:chOff x="5979634" y="2923522"/>
            <a:chExt cx="2299813" cy="898039"/>
          </a:xfrm>
        </p:grpSpPr>
        <p:sp>
          <p:nvSpPr>
            <p:cNvPr id="78" name="Shape 78"/>
            <p:cNvSpPr/>
            <p:nvPr/>
          </p:nvSpPr>
          <p:spPr>
            <a:xfrm>
              <a:off x="5979634" y="2923522"/>
              <a:ext cx="229981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84" name="Shape 84"/>
            <p:cNvSpPr/>
            <p:nvPr/>
          </p:nvSpPr>
          <p:spPr>
            <a:xfrm>
              <a:off x="6093697" y="3049461"/>
              <a:ext cx="2046287" cy="6155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lang="en-AU" b="1" dirty="0" smtClean="0">
                  <a:solidFill>
                    <a:srgbClr val="FFFFFF"/>
                  </a:solidFill>
                </a:rPr>
                <a:t>Utility based pricing</a:t>
              </a:r>
              <a:endParaRPr b="1" dirty="0">
                <a:solidFill>
                  <a:srgbClr val="FFFFFF"/>
                </a:solidFill>
              </a:endParaRPr>
            </a:p>
          </p:txBody>
        </p:sp>
      </p:grpSp>
      <p:grpSp>
        <p:nvGrpSpPr>
          <p:cNvPr id="18" name="Group 17"/>
          <p:cNvGrpSpPr/>
          <p:nvPr/>
        </p:nvGrpSpPr>
        <p:grpSpPr>
          <a:xfrm>
            <a:off x="4977469" y="1962213"/>
            <a:ext cx="1981515" cy="808235"/>
            <a:chOff x="839528" y="2908218"/>
            <a:chExt cx="2201683" cy="898039"/>
          </a:xfrm>
        </p:grpSpPr>
        <p:sp>
          <p:nvSpPr>
            <p:cNvPr id="19" name="Shape 77"/>
            <p:cNvSpPr/>
            <p:nvPr/>
          </p:nvSpPr>
          <p:spPr>
            <a:xfrm>
              <a:off x="839528" y="2908218"/>
              <a:ext cx="220168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20" name="Shape 82"/>
            <p:cNvSpPr/>
            <p:nvPr/>
          </p:nvSpPr>
          <p:spPr>
            <a:xfrm>
              <a:off x="969498" y="3218737"/>
              <a:ext cx="195897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defTabSz="321404"/>
              <a:r>
                <a:rPr lang="en-AU" b="1" dirty="0" smtClean="0">
                  <a:solidFill>
                    <a:srgbClr val="FFFFFF"/>
                  </a:solidFill>
                </a:rPr>
                <a:t>Flexible</a:t>
              </a:r>
            </a:p>
          </p:txBody>
        </p:sp>
      </p:grpSp>
      <p:sp>
        <p:nvSpPr>
          <p:cNvPr id="21" name="Shape 73"/>
          <p:cNvSpPr/>
          <p:nvPr/>
        </p:nvSpPr>
        <p:spPr>
          <a:xfrm>
            <a:off x="1661052" y="4373236"/>
            <a:ext cx="5074104" cy="29084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890" dirty="0"/>
              <a:t>Reassemble them in any order</a:t>
            </a:r>
            <a:endParaRPr sz="1890" dirty="0"/>
          </a:p>
        </p:txBody>
      </p:sp>
    </p:spTree>
    <p:extLst>
      <p:ext uri="{BB962C8B-B14F-4D97-AF65-F5344CB8AC3E}">
        <p14:creationId xmlns:p14="http://schemas.microsoft.com/office/powerpoint/2010/main" val="268136100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grpSp>
        <p:nvGrpSpPr>
          <p:cNvPr id="2" name="Group 1"/>
          <p:cNvGrpSpPr/>
          <p:nvPr/>
        </p:nvGrpSpPr>
        <p:grpSpPr>
          <a:xfrm>
            <a:off x="1280977" y="1406608"/>
            <a:ext cx="7327976" cy="1113796"/>
            <a:chOff x="762907" y="1581650"/>
            <a:chExt cx="8142195" cy="1237550"/>
          </a:xfrm>
        </p:grpSpPr>
        <p:sp>
          <p:nvSpPr>
            <p:cNvPr id="73"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t>Issue</a:t>
              </a:r>
              <a:endParaRPr sz="1890" dirty="0"/>
            </a:p>
          </p:txBody>
        </p:sp>
        <p:sp>
          <p:nvSpPr>
            <p:cNvPr id="74" name="Shape 74"/>
            <p:cNvSpPr/>
            <p:nvPr/>
          </p:nvSpPr>
          <p:spPr>
            <a:xfrm>
              <a:off x="2921430" y="1668458"/>
              <a:ext cx="5983672" cy="11507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current  way of doing BI was slow, costly and failed to deliver the business what was needed when needed</a:t>
              </a:r>
              <a:r>
                <a:rPr dirty="0" smtClean="0">
                  <a:solidFill>
                    <a:srgbClr val="000202"/>
                  </a:solidFill>
                </a:rPr>
                <a:t>.</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7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82" name="Shape 82"/>
          <p:cNvSpPr/>
          <p:nvPr/>
        </p:nvSpPr>
        <p:spPr>
          <a:xfrm>
            <a:off x="1323409" y="2924121"/>
            <a:ext cx="176307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defTabSz="321404"/>
            <a:r>
              <a:rPr b="1" dirty="0" smtClean="0">
                <a:solidFill>
                  <a:srgbClr val="FFFFFF"/>
                </a:solidFill>
              </a:rPr>
              <a:t>FASTER </a:t>
            </a:r>
            <a:endParaRPr b="1" dirty="0">
              <a:solidFill>
                <a:srgbClr val="FFFFFF"/>
              </a:solidFill>
            </a:endParaRPr>
          </a:p>
          <a:p>
            <a:pPr algn="ctr" defTabSz="321404"/>
            <a:r>
              <a:rPr b="1" dirty="0">
                <a:solidFill>
                  <a:srgbClr val="FFFFFF"/>
                </a:solidFill>
              </a:rPr>
              <a:t>INNOVATION</a:t>
            </a:r>
          </a:p>
        </p:txBody>
      </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grpSp>
        <p:nvGrpSpPr>
          <p:cNvPr id="16" name="Group 15"/>
          <p:cNvGrpSpPr/>
          <p:nvPr/>
        </p:nvGrpSpPr>
        <p:grpSpPr>
          <a:xfrm>
            <a:off x="1280977" y="3477444"/>
            <a:ext cx="7327976" cy="909124"/>
            <a:chOff x="762907" y="1581650"/>
            <a:chExt cx="8142195" cy="1010138"/>
          </a:xfrm>
        </p:grpSpPr>
        <p:sp>
          <p:nvSpPr>
            <p:cNvPr id="17"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Solution</a:t>
              </a:r>
              <a:endParaRPr sz="1890" dirty="0"/>
            </a:p>
          </p:txBody>
        </p:sp>
        <p:sp>
          <p:nvSpPr>
            <p:cNvPr id="18" name="Shape 74"/>
            <p:cNvSpPr/>
            <p:nvPr/>
          </p:nvSpPr>
          <p:spPr>
            <a:xfrm>
              <a:off x="2921430" y="1668458"/>
              <a:ext cx="5983672" cy="92333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customer wanted to explore if new technology could deliver better outcomes for the business at lower cost</a:t>
              </a:r>
              <a:endParaRPr sz="1080" b="1" dirty="0">
                <a:solidFill>
                  <a:srgbClr val="000202"/>
                </a:solidFill>
              </a:endParaRPr>
            </a:p>
          </p:txBody>
        </p:sp>
        <p:sp>
          <p:nvSpPr>
            <p:cNvPr id="19"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4" name="Group 23"/>
          <p:cNvGrpSpPr/>
          <p:nvPr/>
        </p:nvGrpSpPr>
        <p:grpSpPr>
          <a:xfrm>
            <a:off x="1280977" y="2505993"/>
            <a:ext cx="7327976" cy="632126"/>
            <a:chOff x="762907" y="1581650"/>
            <a:chExt cx="8142195" cy="702362"/>
          </a:xfrm>
        </p:grpSpPr>
        <p:sp>
          <p:nvSpPr>
            <p:cNvPr id="25"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Opportunity</a:t>
              </a:r>
              <a:endParaRPr sz="1890" dirty="0"/>
            </a:p>
          </p:txBody>
        </p:sp>
        <p:sp>
          <p:nvSpPr>
            <p:cNvPr id="26" name="Shape 74"/>
            <p:cNvSpPr/>
            <p:nvPr/>
          </p:nvSpPr>
          <p:spPr>
            <a:xfrm>
              <a:off x="2921430" y="1668458"/>
              <a:ext cx="5983672" cy="61555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customer had funding to implement a new core system. They could create a new paradigm for BI</a:t>
              </a:r>
              <a:endParaRPr sz="1080" b="1" dirty="0">
                <a:solidFill>
                  <a:srgbClr val="000202"/>
                </a:solidFill>
              </a:endParaRPr>
            </a:p>
          </p:txBody>
        </p:sp>
        <p:sp>
          <p:nvSpPr>
            <p:cNvPr id="27"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Tree>
    <p:extLst>
      <p:ext uri="{BB962C8B-B14F-4D97-AF65-F5344CB8AC3E}">
        <p14:creationId xmlns:p14="http://schemas.microsoft.com/office/powerpoint/2010/main" val="263845926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2" name="Title 4"/>
          <p:cNvSpPr txBox="1">
            <a:spLocks/>
          </p:cNvSpPr>
          <p:nvPr/>
        </p:nvSpPr>
        <p:spPr>
          <a:xfrm>
            <a:off x="2679285" y="871007"/>
            <a:ext cx="3171824" cy="4486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a:defRPr sz="2200" b="1">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defTabSz="822960"/>
            <a:r>
              <a:rPr lang="en-US" altLang="en-US" sz="1980" dirty="0"/>
              <a:t>The current world</a:t>
            </a:r>
          </a:p>
        </p:txBody>
      </p:sp>
      <p:pic>
        <p:nvPicPr>
          <p:cNvPr id="42"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468314" y="1102196"/>
            <a:ext cx="544116" cy="54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2"/>
          <p:cNvPicPr>
            <a:picLocks noChangeAspect="1"/>
          </p:cNvPicPr>
          <p:nvPr/>
        </p:nvPicPr>
        <p:blipFill>
          <a:blip r:embed="rId4"/>
          <a:stretch>
            <a:fillRect/>
          </a:stretch>
        </p:blipFill>
        <p:spPr>
          <a:xfrm>
            <a:off x="7421996" y="2180012"/>
            <a:ext cx="487074" cy="364593"/>
          </a:xfrm>
          <a:prstGeom prst="rect">
            <a:avLst/>
          </a:prstGeom>
        </p:spPr>
      </p:pic>
      <p:pic>
        <p:nvPicPr>
          <p:cNvPr id="44" name="Picture 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62743" y="3200426"/>
            <a:ext cx="640556"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 Box 4"/>
          <p:cNvSpPr txBox="1">
            <a:spLocks noChangeArrowheads="1"/>
          </p:cNvSpPr>
          <p:nvPr/>
        </p:nvSpPr>
        <p:spPr bwMode="auto">
          <a:xfrm>
            <a:off x="694427" y="1074861"/>
            <a:ext cx="925830" cy="391517"/>
          </a:xfrm>
          <a:prstGeom prst="rect">
            <a:avLst/>
          </a:prstGeom>
          <a:noFill/>
          <a:ln w="9525">
            <a:noFill/>
            <a:miter lim="800000"/>
            <a:headEnd/>
            <a:tailEnd/>
          </a:ln>
          <a:effectLst/>
        </p:spPr>
        <p:txBody>
          <a:bodyPr>
            <a:spAutoFit/>
          </a:bodyPr>
          <a:lstStyle/>
          <a:p>
            <a:pPr algn="ctr">
              <a:lnSpc>
                <a:spcPct val="90000"/>
              </a:lnSpc>
              <a:buClr>
                <a:schemeClr val="tx1"/>
              </a:buClr>
              <a:defRPr/>
            </a:pPr>
            <a:r>
              <a:rPr lang="en-US" sz="1080" dirty="0">
                <a:latin typeface="Arial" charset="0"/>
                <a:ea typeface="ＭＳ Ｐゴシック" charset="-128"/>
              </a:rPr>
              <a:t>Source Systems</a:t>
            </a:r>
          </a:p>
        </p:txBody>
      </p:sp>
      <p:sp>
        <p:nvSpPr>
          <p:cNvPr id="33" name="Rectangle 5"/>
          <p:cNvSpPr>
            <a:spLocks noChangeArrowheads="1"/>
          </p:cNvSpPr>
          <p:nvPr/>
        </p:nvSpPr>
        <p:spPr bwMode="auto">
          <a:xfrm>
            <a:off x="848732" y="3852350"/>
            <a:ext cx="604361"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External Sources</a:t>
            </a:r>
          </a:p>
        </p:txBody>
      </p:sp>
      <p:sp>
        <p:nvSpPr>
          <p:cNvPr id="34" name="Rectangle 9"/>
          <p:cNvSpPr>
            <a:spLocks noChangeArrowheads="1"/>
          </p:cNvSpPr>
          <p:nvPr/>
        </p:nvSpPr>
        <p:spPr bwMode="auto">
          <a:xfrm>
            <a:off x="848732" y="3110830"/>
            <a:ext cx="604361"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Billing</a:t>
            </a:r>
          </a:p>
        </p:txBody>
      </p:sp>
      <p:sp>
        <p:nvSpPr>
          <p:cNvPr id="35" name="Rectangle 13"/>
          <p:cNvSpPr>
            <a:spLocks noChangeArrowheads="1"/>
          </p:cNvSpPr>
          <p:nvPr/>
        </p:nvSpPr>
        <p:spPr bwMode="auto">
          <a:xfrm>
            <a:off x="848732" y="2590765"/>
            <a:ext cx="604361"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HR</a:t>
            </a:r>
          </a:p>
        </p:txBody>
      </p:sp>
      <p:sp>
        <p:nvSpPr>
          <p:cNvPr id="36" name="Rectangle 17"/>
          <p:cNvSpPr>
            <a:spLocks noChangeArrowheads="1"/>
          </p:cNvSpPr>
          <p:nvPr/>
        </p:nvSpPr>
        <p:spPr bwMode="auto">
          <a:xfrm>
            <a:off x="848732" y="2080700"/>
            <a:ext cx="604361"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ERP</a:t>
            </a:r>
          </a:p>
        </p:txBody>
      </p:sp>
      <p:sp>
        <p:nvSpPr>
          <p:cNvPr id="37" name="Rectangle 21"/>
          <p:cNvSpPr>
            <a:spLocks noChangeArrowheads="1"/>
          </p:cNvSpPr>
          <p:nvPr/>
        </p:nvSpPr>
        <p:spPr bwMode="auto">
          <a:xfrm>
            <a:off x="848732" y="1549205"/>
            <a:ext cx="604361"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CRM</a:t>
            </a:r>
          </a:p>
        </p:txBody>
      </p:sp>
      <p:sp>
        <p:nvSpPr>
          <p:cNvPr id="38" name="Line 25"/>
          <p:cNvSpPr>
            <a:spLocks noChangeShapeType="1"/>
          </p:cNvSpPr>
          <p:nvPr/>
        </p:nvSpPr>
        <p:spPr bwMode="auto">
          <a:xfrm flipH="1">
            <a:off x="1143056" y="3649468"/>
            <a:ext cx="1428" cy="154305"/>
          </a:xfrm>
          <a:prstGeom prst="line">
            <a:avLst/>
          </a:prstGeom>
          <a:noFill/>
          <a:ln w="28575">
            <a:solidFill>
              <a:srgbClr val="000066"/>
            </a:solidFill>
            <a:prstDash val="sysDot"/>
            <a:round/>
            <a:headEnd/>
            <a:tailEnd/>
          </a:ln>
          <a:effectLst>
            <a:outerShdw blurRad="50800" dist="38100" dir="2700000" algn="tl" rotWithShape="0">
              <a:srgbClr val="000000">
                <a:alpha val="39998"/>
              </a:srgbClr>
            </a:outerShdw>
          </a:effectLst>
        </p:spPr>
        <p:txBody>
          <a:bodyPr anchor="ctr">
            <a:spAutoFit/>
          </a:bodyPr>
          <a:lstStyle/>
          <a:p>
            <a:pPr>
              <a:lnSpc>
                <a:spcPct val="90000"/>
              </a:lnSpc>
              <a:buClr>
                <a:schemeClr val="tx1"/>
              </a:buClr>
              <a:defRPr/>
            </a:pPr>
            <a:endParaRPr lang="en-US">
              <a:latin typeface="Arial" charset="0"/>
              <a:ea typeface="ＭＳ Ｐゴシック" charset="-128"/>
              <a:cs typeface="ＭＳ Ｐゴシック" charset="-128"/>
            </a:endParaRPr>
          </a:p>
        </p:txBody>
      </p:sp>
      <p:sp>
        <p:nvSpPr>
          <p:cNvPr id="39" name="Line 41"/>
          <p:cNvSpPr>
            <a:spLocks noChangeShapeType="1"/>
          </p:cNvSpPr>
          <p:nvPr/>
        </p:nvSpPr>
        <p:spPr bwMode="auto">
          <a:xfrm>
            <a:off x="1670263" y="1442049"/>
            <a:ext cx="0" cy="2964656"/>
          </a:xfrm>
          <a:prstGeom prst="line">
            <a:avLst/>
          </a:prstGeom>
          <a:noFill/>
          <a:ln w="19050">
            <a:solidFill>
              <a:srgbClr val="000066"/>
            </a:solidFill>
            <a:round/>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40" name="Line 67"/>
          <p:cNvSpPr>
            <a:spLocks noChangeShapeType="1"/>
          </p:cNvSpPr>
          <p:nvPr/>
        </p:nvSpPr>
        <p:spPr bwMode="auto">
          <a:xfrm flipH="1">
            <a:off x="1665977" y="2806505"/>
            <a:ext cx="2303145" cy="0"/>
          </a:xfrm>
          <a:prstGeom prst="line">
            <a:avLst/>
          </a:prstGeom>
          <a:noFill/>
          <a:ln w="19050">
            <a:solidFill>
              <a:srgbClr val="000066"/>
            </a:solidFill>
            <a:round/>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45" name="Text Box 88"/>
          <p:cNvSpPr txBox="1">
            <a:spLocks noChangeArrowheads="1"/>
          </p:cNvSpPr>
          <p:nvPr/>
        </p:nvSpPr>
        <p:spPr bwMode="auto">
          <a:xfrm>
            <a:off x="7193811" y="4112771"/>
            <a:ext cx="1160145" cy="590931"/>
          </a:xfrm>
          <a:prstGeom prst="rect">
            <a:avLst/>
          </a:prstGeom>
          <a:noFill/>
          <a:ln w="9525">
            <a:noFill/>
            <a:miter lim="800000"/>
            <a:headEnd/>
            <a:tailEnd/>
          </a:ln>
          <a:effectLst/>
        </p:spPr>
        <p:txBody>
          <a:bodyPr>
            <a:spAutoFit/>
          </a:bodyPr>
          <a:lstStyle/>
          <a:p>
            <a:pPr algn="ctr">
              <a:lnSpc>
                <a:spcPct val="90000"/>
              </a:lnSpc>
              <a:buClr>
                <a:schemeClr val="tx1"/>
              </a:buClr>
              <a:defRPr/>
            </a:pPr>
            <a:r>
              <a:rPr lang="en-US" b="1" kern="0" dirty="0">
                <a:solidFill>
                  <a:sysClr val="windowText" lastClr="000000"/>
                </a:solidFill>
                <a:latin typeface="Arial" charset="0"/>
                <a:ea typeface="ＭＳ Ｐゴシック" charset="-128"/>
              </a:rPr>
              <a:t>Data Marts</a:t>
            </a:r>
          </a:p>
        </p:txBody>
      </p:sp>
      <p:sp>
        <p:nvSpPr>
          <p:cNvPr id="63" name="AutoShape 63"/>
          <p:cNvSpPr>
            <a:spLocks noChangeArrowheads="1"/>
          </p:cNvSpPr>
          <p:nvPr/>
        </p:nvSpPr>
        <p:spPr bwMode="auto">
          <a:xfrm>
            <a:off x="3419053" y="1490627"/>
            <a:ext cx="2917508" cy="2386013"/>
          </a:xfrm>
          <a:prstGeom prst="roundRect">
            <a:avLst>
              <a:gd name="adj" fmla="val 6088"/>
            </a:avLst>
          </a:prstGeom>
          <a:gradFill rotWithShape="1">
            <a:gsLst>
              <a:gs pos="0">
                <a:srgbClr val="E2E599"/>
              </a:gs>
              <a:gs pos="100000">
                <a:schemeClr val="bg1"/>
              </a:gs>
            </a:gsLst>
            <a:lin ang="5400000" scaled="1"/>
          </a:gradFill>
          <a:ln w="6350">
            <a:solidFill>
              <a:schemeClr val="accent2"/>
            </a:solidFill>
            <a:round/>
            <a:headEnd/>
            <a:tailEnd/>
          </a:ln>
        </p:spPr>
        <p:txBody>
          <a:bodyPr wrap="none" anchor="ctr"/>
          <a:lstStyle>
            <a:lvl1pPr>
              <a:lnSpc>
                <a:spcPct val="90000"/>
              </a:lnSpc>
              <a:buClr>
                <a:schemeClr val="tx1"/>
              </a:buClr>
              <a:buChar char="•"/>
              <a:defRPr sz="1400">
                <a:solidFill>
                  <a:schemeClr val="tx1"/>
                </a:solidFill>
                <a:latin typeface="Arial" panose="020B0604020202020204" pitchFamily="34" charset="0"/>
                <a:ea typeface="MS PGothic" panose="020B0600070205080204" pitchFamily="34" charset="-128"/>
              </a:defRPr>
            </a:lvl1pPr>
            <a:lvl2pPr marL="742950" indent="-285750">
              <a:lnSpc>
                <a:spcPct val="90000"/>
              </a:lnSpc>
              <a:buClr>
                <a:schemeClr val="tx1"/>
              </a:buClr>
              <a:buChar char="•"/>
              <a:defRPr sz="1400">
                <a:solidFill>
                  <a:schemeClr val="tx1"/>
                </a:solidFill>
                <a:latin typeface="Arial" panose="020B0604020202020204" pitchFamily="34" charset="0"/>
                <a:ea typeface="MS PGothic" panose="020B0600070205080204" pitchFamily="34" charset="-128"/>
              </a:defRPr>
            </a:lvl2pPr>
            <a:lvl3pPr marL="1143000" indent="-228600">
              <a:lnSpc>
                <a:spcPct val="90000"/>
              </a:lnSpc>
              <a:buClr>
                <a:schemeClr val="tx1"/>
              </a:buClr>
              <a:buChar char="•"/>
              <a:defRPr sz="1400">
                <a:solidFill>
                  <a:schemeClr val="tx1"/>
                </a:solidFill>
                <a:latin typeface="Arial" panose="020B0604020202020204" pitchFamily="34" charset="0"/>
                <a:ea typeface="MS PGothic" panose="020B0600070205080204" pitchFamily="34" charset="-128"/>
              </a:defRPr>
            </a:lvl3pPr>
            <a:lvl4pPr marL="1600200" indent="-228600">
              <a:lnSpc>
                <a:spcPct val="90000"/>
              </a:lnSpc>
              <a:buClr>
                <a:schemeClr val="tx1"/>
              </a:buClr>
              <a:buChar char="•"/>
              <a:defRPr sz="1400">
                <a:solidFill>
                  <a:schemeClr val="tx1"/>
                </a:solidFill>
                <a:latin typeface="Arial" panose="020B0604020202020204" pitchFamily="34" charset="0"/>
                <a:ea typeface="MS PGothic" panose="020B0600070205080204" pitchFamily="34" charset="-128"/>
              </a:defRPr>
            </a:lvl4pPr>
            <a:lvl5pPr marL="2057400" indent="-228600">
              <a:lnSpc>
                <a:spcPct val="90000"/>
              </a:lnSpc>
              <a:buClr>
                <a:schemeClr val="tx1"/>
              </a:buClr>
              <a:buChar char="•"/>
              <a:defRPr sz="1400">
                <a:solidFill>
                  <a:schemeClr val="tx1"/>
                </a:solidFill>
                <a:latin typeface="Arial" panose="020B0604020202020204" pitchFamily="34" charset="0"/>
                <a:ea typeface="MS PGothic" panose="020B0600070205080204" pitchFamily="34" charset="-128"/>
              </a:defRPr>
            </a:lvl5pPr>
            <a:lvl6pPr marL="2514600" indent="-228600" fontAlgn="base">
              <a:lnSpc>
                <a:spcPct val="90000"/>
              </a:lnSpc>
              <a:spcBef>
                <a:spcPct val="0"/>
              </a:spcBef>
              <a:spcAft>
                <a:spcPct val="0"/>
              </a:spcAft>
              <a:buClr>
                <a:schemeClr val="tx1"/>
              </a:buClr>
              <a:buChar char="•"/>
              <a:defRPr sz="1400">
                <a:solidFill>
                  <a:schemeClr val="tx1"/>
                </a:solidFill>
                <a:latin typeface="Arial" panose="020B0604020202020204" pitchFamily="34" charset="0"/>
                <a:ea typeface="MS PGothic" panose="020B0600070205080204" pitchFamily="34" charset="-128"/>
              </a:defRPr>
            </a:lvl6pPr>
            <a:lvl7pPr marL="2971800" indent="-228600" fontAlgn="base">
              <a:lnSpc>
                <a:spcPct val="90000"/>
              </a:lnSpc>
              <a:spcBef>
                <a:spcPct val="0"/>
              </a:spcBef>
              <a:spcAft>
                <a:spcPct val="0"/>
              </a:spcAft>
              <a:buClr>
                <a:schemeClr val="tx1"/>
              </a:buClr>
              <a:buChar char="•"/>
              <a:defRPr sz="1400">
                <a:solidFill>
                  <a:schemeClr val="tx1"/>
                </a:solidFill>
                <a:latin typeface="Arial" panose="020B0604020202020204" pitchFamily="34" charset="0"/>
                <a:ea typeface="MS PGothic" panose="020B0600070205080204" pitchFamily="34" charset="-128"/>
              </a:defRPr>
            </a:lvl7pPr>
            <a:lvl8pPr marL="3429000" indent="-228600" fontAlgn="base">
              <a:lnSpc>
                <a:spcPct val="90000"/>
              </a:lnSpc>
              <a:spcBef>
                <a:spcPct val="0"/>
              </a:spcBef>
              <a:spcAft>
                <a:spcPct val="0"/>
              </a:spcAft>
              <a:buClr>
                <a:schemeClr val="tx1"/>
              </a:buClr>
              <a:buChar char="•"/>
              <a:defRPr sz="1400">
                <a:solidFill>
                  <a:schemeClr val="tx1"/>
                </a:solidFill>
                <a:latin typeface="Arial" panose="020B0604020202020204" pitchFamily="34" charset="0"/>
                <a:ea typeface="MS PGothic" panose="020B0600070205080204" pitchFamily="34" charset="-128"/>
              </a:defRPr>
            </a:lvl8pPr>
            <a:lvl9pPr marL="3886200" indent="-228600" fontAlgn="base">
              <a:lnSpc>
                <a:spcPct val="90000"/>
              </a:lnSpc>
              <a:spcBef>
                <a:spcPct val="0"/>
              </a:spcBef>
              <a:spcAft>
                <a:spcPct val="0"/>
              </a:spcAft>
              <a:buClr>
                <a:schemeClr val="tx1"/>
              </a:buClr>
              <a:buChar char="•"/>
              <a:defRPr sz="1400">
                <a:solidFill>
                  <a:schemeClr val="tx1"/>
                </a:solidFill>
                <a:latin typeface="Arial" panose="020B0604020202020204" pitchFamily="34" charset="0"/>
                <a:ea typeface="MS PGothic" panose="020B0600070205080204" pitchFamily="34" charset="-128"/>
              </a:defRPr>
            </a:lvl9pPr>
          </a:lstStyle>
          <a:p>
            <a:pPr>
              <a:buFontTx/>
              <a:buNone/>
            </a:pPr>
            <a:endParaRPr lang="en-AU" altLang="en-US" sz="1260"/>
          </a:p>
        </p:txBody>
      </p:sp>
      <p:sp>
        <p:nvSpPr>
          <p:cNvPr id="64" name="Text Box 88"/>
          <p:cNvSpPr txBox="1">
            <a:spLocks noChangeArrowheads="1"/>
          </p:cNvSpPr>
          <p:nvPr/>
        </p:nvSpPr>
        <p:spPr bwMode="auto">
          <a:xfrm>
            <a:off x="3537640" y="1507773"/>
            <a:ext cx="2718912" cy="291747"/>
          </a:xfrm>
          <a:prstGeom prst="rect">
            <a:avLst/>
          </a:prstGeom>
          <a:noFill/>
          <a:ln w="9525">
            <a:noFill/>
            <a:miter lim="800000"/>
            <a:headEnd/>
            <a:tailEnd/>
          </a:ln>
          <a:effectLst/>
        </p:spPr>
        <p:txBody>
          <a:bodyPr>
            <a:spAutoFit/>
          </a:bodyPr>
          <a:lstStyle/>
          <a:p>
            <a:pPr algn="ctr">
              <a:lnSpc>
                <a:spcPct val="90000"/>
              </a:lnSpc>
              <a:buClr>
                <a:schemeClr val="tx1"/>
              </a:buClr>
              <a:defRPr/>
            </a:pPr>
            <a:r>
              <a:rPr lang="en-US" sz="1440" b="1" dirty="0">
                <a:latin typeface="Arial" charset="0"/>
                <a:ea typeface="ＭＳ Ｐゴシック" charset="-128"/>
              </a:rPr>
              <a:t>Enterprise Data Warehouse</a:t>
            </a:r>
          </a:p>
        </p:txBody>
      </p:sp>
      <p:pic>
        <p:nvPicPr>
          <p:cNvPr id="48" name="Picture 10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934418" y="1897820"/>
            <a:ext cx="565785" cy="1748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 name="Picture 87"/>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27555" y="1897820"/>
            <a:ext cx="565785" cy="1748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 Box 88"/>
          <p:cNvSpPr txBox="1">
            <a:spLocks noChangeArrowheads="1"/>
          </p:cNvSpPr>
          <p:nvPr/>
        </p:nvSpPr>
        <p:spPr bwMode="auto">
          <a:xfrm>
            <a:off x="1847427" y="1876390"/>
            <a:ext cx="1443769" cy="840230"/>
          </a:xfrm>
          <a:prstGeom prst="rect">
            <a:avLst/>
          </a:prstGeom>
          <a:noFill/>
          <a:ln w="9525">
            <a:noFill/>
            <a:miter lim="800000"/>
            <a:headEnd/>
            <a:tailEnd/>
          </a:ln>
          <a:effectLst/>
        </p:spPr>
        <p:txBody>
          <a:bodyPr wrap="square">
            <a:spAutoFit/>
          </a:bodyPr>
          <a:lstStyle/>
          <a:p>
            <a:pPr algn="ctr">
              <a:lnSpc>
                <a:spcPct val="90000"/>
              </a:lnSpc>
              <a:buClr>
                <a:schemeClr val="tx1"/>
              </a:buClr>
              <a:defRPr/>
            </a:pPr>
            <a:r>
              <a:rPr lang="en-US" b="1" kern="0" dirty="0">
                <a:solidFill>
                  <a:sysClr val="windowText" lastClr="000000"/>
                </a:solidFill>
                <a:latin typeface="Arial" charset="0"/>
                <a:ea typeface="ＭＳ Ｐゴシック" charset="-128"/>
              </a:rPr>
              <a:t>Data</a:t>
            </a:r>
          </a:p>
          <a:p>
            <a:pPr algn="ctr">
              <a:lnSpc>
                <a:spcPct val="90000"/>
              </a:lnSpc>
              <a:buClr>
                <a:schemeClr val="tx1"/>
              </a:buClr>
              <a:defRPr/>
            </a:pPr>
            <a:r>
              <a:rPr lang="en-US" b="1" kern="0" dirty="0" err="1" smtClean="0">
                <a:solidFill>
                  <a:sysClr val="windowText" lastClr="000000"/>
                </a:solidFill>
                <a:latin typeface="Arial" charset="0"/>
                <a:ea typeface="ＭＳ Ｐゴシック" charset="-128"/>
              </a:rPr>
              <a:t>Integrationn</a:t>
            </a:r>
            <a:endParaRPr lang="en-US" b="1" kern="0" dirty="0">
              <a:solidFill>
                <a:sysClr val="windowText" lastClr="000000"/>
              </a:solidFill>
              <a:latin typeface="Arial" charset="0"/>
              <a:ea typeface="ＭＳ Ｐゴシック" charset="-128"/>
            </a:endParaRPr>
          </a:p>
        </p:txBody>
      </p:sp>
      <p:pic>
        <p:nvPicPr>
          <p:cNvPr id="54" name="Picture 37" descr="warehous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93173" y="2473607"/>
            <a:ext cx="905828" cy="905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9" name="AutoShape 208"/>
          <p:cNvSpPr>
            <a:spLocks noChangeArrowheads="1"/>
          </p:cNvSpPr>
          <p:nvPr/>
        </p:nvSpPr>
        <p:spPr bwMode="auto">
          <a:xfrm rot="21276010" flipH="1" flipV="1">
            <a:off x="2141751" y="2578842"/>
            <a:ext cx="505778" cy="445326"/>
          </a:xfrm>
          <a:custGeom>
            <a:avLst/>
            <a:gdLst>
              <a:gd name="G0" fmla="+- 6336748 0 0"/>
              <a:gd name="G1" fmla="+- -5847300 0 0"/>
              <a:gd name="G2" fmla="+- 6336748 0 -5847300"/>
              <a:gd name="G3" fmla="+- 10800 0 0"/>
              <a:gd name="G4" fmla="+- 0 0 6336748"/>
              <a:gd name="T0" fmla="*/ 360 256 1"/>
              <a:gd name="T1" fmla="*/ 0 256 1"/>
              <a:gd name="G5" fmla="+- G2 T0 T1"/>
              <a:gd name="G6" fmla="?: G2 G2 G5"/>
              <a:gd name="G7" fmla="+- 0 0 G6"/>
              <a:gd name="G8" fmla="+- 7861 0 0"/>
              <a:gd name="G9" fmla="+- 0 0 -5847300"/>
              <a:gd name="G10" fmla="+- 7861 0 2700"/>
              <a:gd name="G11" fmla="cos G10 6336748"/>
              <a:gd name="G12" fmla="sin G10 6336748"/>
              <a:gd name="G13" fmla="cos 13500 6336748"/>
              <a:gd name="G14" fmla="sin 13500 6336748"/>
              <a:gd name="G15" fmla="+- G11 10800 0"/>
              <a:gd name="G16" fmla="+- G12 10800 0"/>
              <a:gd name="G17" fmla="+- G13 10800 0"/>
              <a:gd name="G18" fmla="+- G14 10800 0"/>
              <a:gd name="G19" fmla="*/ 7861 1 2"/>
              <a:gd name="G20" fmla="+- G19 5400 0"/>
              <a:gd name="G21" fmla="cos G20 6336748"/>
              <a:gd name="G22" fmla="sin G20 6336748"/>
              <a:gd name="G23" fmla="+- G21 10800 0"/>
              <a:gd name="G24" fmla="+- G12 G23 G22"/>
              <a:gd name="G25" fmla="+- G22 G23 G11"/>
              <a:gd name="G26" fmla="cos 10800 6336748"/>
              <a:gd name="G27" fmla="sin 10800 6336748"/>
              <a:gd name="G28" fmla="cos 7861 6336748"/>
              <a:gd name="G29" fmla="sin 7861 6336748"/>
              <a:gd name="G30" fmla="+- G26 10800 0"/>
              <a:gd name="G31" fmla="+- G27 10800 0"/>
              <a:gd name="G32" fmla="+- G28 10800 0"/>
              <a:gd name="G33" fmla="+- G29 10800 0"/>
              <a:gd name="G34" fmla="+- G19 5400 0"/>
              <a:gd name="G35" fmla="cos G34 -5847300"/>
              <a:gd name="G36" fmla="sin G34 -5847300"/>
              <a:gd name="G37" fmla="+/ -5847300 6336748 2"/>
              <a:gd name="T2" fmla="*/ 180 256 1"/>
              <a:gd name="T3" fmla="*/ 0 256 1"/>
              <a:gd name="G38" fmla="+- G37 T2 T3"/>
              <a:gd name="G39" fmla="?: G2 G37 G38"/>
              <a:gd name="G40" fmla="cos 10800 G39"/>
              <a:gd name="G41" fmla="sin 10800 G39"/>
              <a:gd name="G42" fmla="cos 7861 G39"/>
              <a:gd name="G43" fmla="sin 7861 G39"/>
              <a:gd name="G44" fmla="+- G40 10800 0"/>
              <a:gd name="G45" fmla="+- G41 10800 0"/>
              <a:gd name="G46" fmla="+- G42 10800 0"/>
              <a:gd name="G47" fmla="+- G43 10800 0"/>
              <a:gd name="G48" fmla="+- G35 10800 0"/>
              <a:gd name="G49" fmla="+- G36 10800 0"/>
              <a:gd name="T4" fmla="*/ 21577 w 21600"/>
              <a:gd name="T5" fmla="*/ 11503 h 21600"/>
              <a:gd name="T6" fmla="*/ 10926 w 21600"/>
              <a:gd name="T7" fmla="*/ 1469 h 21600"/>
              <a:gd name="T8" fmla="*/ 18644 w 21600"/>
              <a:gd name="T9" fmla="*/ 11311 h 21600"/>
              <a:gd name="T10" fmla="*/ 9227 w 21600"/>
              <a:gd name="T11" fmla="*/ 24208 h 21600"/>
              <a:gd name="T12" fmla="*/ 5570 w 21600"/>
              <a:gd name="T13" fmla="*/ 19581 h 21600"/>
              <a:gd name="T14" fmla="*/ 10198 w 21600"/>
              <a:gd name="T15" fmla="*/ 15925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884" y="18607"/>
                </a:moveTo>
                <a:cubicBezTo>
                  <a:pt x="10188" y="18643"/>
                  <a:pt x="10493" y="18661"/>
                  <a:pt x="10800" y="18661"/>
                </a:cubicBezTo>
                <a:cubicBezTo>
                  <a:pt x="15141" y="18661"/>
                  <a:pt x="18661" y="15141"/>
                  <a:pt x="18661" y="10800"/>
                </a:cubicBezTo>
                <a:cubicBezTo>
                  <a:pt x="18661" y="6500"/>
                  <a:pt x="15206" y="2998"/>
                  <a:pt x="10906" y="2939"/>
                </a:cubicBezTo>
                <a:lnTo>
                  <a:pt x="10946" y="0"/>
                </a:lnTo>
                <a:cubicBezTo>
                  <a:pt x="16853" y="81"/>
                  <a:pt x="21600" y="4892"/>
                  <a:pt x="21600" y="10800"/>
                </a:cubicBezTo>
                <a:cubicBezTo>
                  <a:pt x="21600" y="16764"/>
                  <a:pt x="16764" y="21600"/>
                  <a:pt x="10800" y="21600"/>
                </a:cubicBezTo>
                <a:cubicBezTo>
                  <a:pt x="10379" y="21600"/>
                  <a:pt x="9959" y="21575"/>
                  <a:pt x="9541" y="21526"/>
                </a:cubicBezTo>
                <a:lnTo>
                  <a:pt x="9227" y="24208"/>
                </a:lnTo>
                <a:lnTo>
                  <a:pt x="5570" y="19581"/>
                </a:lnTo>
                <a:lnTo>
                  <a:pt x="10198" y="15925"/>
                </a:lnTo>
                <a:lnTo>
                  <a:pt x="9884" y="18607"/>
                </a:lnTo>
                <a:close/>
              </a:path>
            </a:pathLst>
          </a:custGeom>
          <a:solidFill>
            <a:srgbClr val="000000"/>
          </a:solidFill>
          <a:ln w="19050" algn="ctr">
            <a:solidFill>
              <a:srgbClr val="FFFFFF"/>
            </a:solidFill>
            <a:miter lim="800000"/>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60" name="AutoShape 209"/>
          <p:cNvSpPr>
            <a:spLocks noChangeArrowheads="1"/>
          </p:cNvSpPr>
          <p:nvPr/>
        </p:nvSpPr>
        <p:spPr bwMode="auto">
          <a:xfrm rot="21276010">
            <a:off x="2216046" y="2577413"/>
            <a:ext cx="505778" cy="445326"/>
          </a:xfrm>
          <a:custGeom>
            <a:avLst/>
            <a:gdLst>
              <a:gd name="G0" fmla="+- 6336748 0 0"/>
              <a:gd name="G1" fmla="+- -6088150 0 0"/>
              <a:gd name="G2" fmla="+- 6336748 0 -6088150"/>
              <a:gd name="G3" fmla="+- 10800 0 0"/>
              <a:gd name="G4" fmla="+- 0 0 6336748"/>
              <a:gd name="T0" fmla="*/ 360 256 1"/>
              <a:gd name="T1" fmla="*/ 0 256 1"/>
              <a:gd name="G5" fmla="+- G2 T0 T1"/>
              <a:gd name="G6" fmla="?: G2 G2 G5"/>
              <a:gd name="G7" fmla="+- 0 0 G6"/>
              <a:gd name="G8" fmla="+- 7861 0 0"/>
              <a:gd name="G9" fmla="+- 0 0 -6088150"/>
              <a:gd name="G10" fmla="+- 7861 0 2700"/>
              <a:gd name="G11" fmla="cos G10 6336748"/>
              <a:gd name="G12" fmla="sin G10 6336748"/>
              <a:gd name="G13" fmla="cos 13500 6336748"/>
              <a:gd name="G14" fmla="sin 13500 6336748"/>
              <a:gd name="G15" fmla="+- G11 10800 0"/>
              <a:gd name="G16" fmla="+- G12 10800 0"/>
              <a:gd name="G17" fmla="+- G13 10800 0"/>
              <a:gd name="G18" fmla="+- G14 10800 0"/>
              <a:gd name="G19" fmla="*/ 7861 1 2"/>
              <a:gd name="G20" fmla="+- G19 5400 0"/>
              <a:gd name="G21" fmla="cos G20 6336748"/>
              <a:gd name="G22" fmla="sin G20 6336748"/>
              <a:gd name="G23" fmla="+- G21 10800 0"/>
              <a:gd name="G24" fmla="+- G12 G23 G22"/>
              <a:gd name="G25" fmla="+- G22 G23 G11"/>
              <a:gd name="G26" fmla="cos 10800 6336748"/>
              <a:gd name="G27" fmla="sin 10800 6336748"/>
              <a:gd name="G28" fmla="cos 7861 6336748"/>
              <a:gd name="G29" fmla="sin 7861 6336748"/>
              <a:gd name="G30" fmla="+- G26 10800 0"/>
              <a:gd name="G31" fmla="+- G27 10800 0"/>
              <a:gd name="G32" fmla="+- G28 10800 0"/>
              <a:gd name="G33" fmla="+- G29 10800 0"/>
              <a:gd name="G34" fmla="+- G19 5400 0"/>
              <a:gd name="G35" fmla="cos G34 -6088150"/>
              <a:gd name="G36" fmla="sin G34 -6088150"/>
              <a:gd name="G37" fmla="+/ -6088150 6336748 2"/>
              <a:gd name="T2" fmla="*/ 180 256 1"/>
              <a:gd name="T3" fmla="*/ 0 256 1"/>
              <a:gd name="G38" fmla="+- G37 T2 T3"/>
              <a:gd name="G39" fmla="?: G2 G37 G38"/>
              <a:gd name="G40" fmla="cos 10800 G39"/>
              <a:gd name="G41" fmla="sin 10800 G39"/>
              <a:gd name="G42" fmla="cos 7861 G39"/>
              <a:gd name="G43" fmla="sin 7861 G39"/>
              <a:gd name="G44" fmla="+- G40 10800 0"/>
              <a:gd name="G45" fmla="+- G41 10800 0"/>
              <a:gd name="G46" fmla="+- G42 10800 0"/>
              <a:gd name="G47" fmla="+- G43 10800 0"/>
              <a:gd name="G48" fmla="+- G35 10800 0"/>
              <a:gd name="G49" fmla="+- G36 10800 0"/>
              <a:gd name="T4" fmla="*/ 21594 w 21600"/>
              <a:gd name="T5" fmla="*/ 11157 h 21600"/>
              <a:gd name="T6" fmla="*/ 10328 w 21600"/>
              <a:gd name="T7" fmla="*/ 1480 h 21600"/>
              <a:gd name="T8" fmla="*/ 18656 w 21600"/>
              <a:gd name="T9" fmla="*/ 11060 h 21600"/>
              <a:gd name="T10" fmla="*/ 9227 w 21600"/>
              <a:gd name="T11" fmla="*/ 24208 h 21600"/>
              <a:gd name="T12" fmla="*/ 5570 w 21600"/>
              <a:gd name="T13" fmla="*/ 19581 h 21600"/>
              <a:gd name="T14" fmla="*/ 10198 w 21600"/>
              <a:gd name="T15" fmla="*/ 15925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884" y="18607"/>
                </a:moveTo>
                <a:cubicBezTo>
                  <a:pt x="10188" y="18643"/>
                  <a:pt x="10493" y="18661"/>
                  <a:pt x="10800" y="18661"/>
                </a:cubicBezTo>
                <a:cubicBezTo>
                  <a:pt x="15141" y="18661"/>
                  <a:pt x="18661" y="15141"/>
                  <a:pt x="18661" y="10800"/>
                </a:cubicBezTo>
                <a:cubicBezTo>
                  <a:pt x="18661" y="6458"/>
                  <a:pt x="15141" y="2939"/>
                  <a:pt x="10800" y="2939"/>
                </a:cubicBezTo>
                <a:cubicBezTo>
                  <a:pt x="10667" y="2938"/>
                  <a:pt x="10534" y="2942"/>
                  <a:pt x="10402" y="2949"/>
                </a:cubicBezTo>
                <a:lnTo>
                  <a:pt x="10254" y="13"/>
                </a:lnTo>
                <a:cubicBezTo>
                  <a:pt x="10435" y="4"/>
                  <a:pt x="10617" y="-1"/>
                  <a:pt x="10800" y="0"/>
                </a:cubicBezTo>
                <a:cubicBezTo>
                  <a:pt x="16764" y="0"/>
                  <a:pt x="21600" y="4835"/>
                  <a:pt x="21600" y="10800"/>
                </a:cubicBezTo>
                <a:cubicBezTo>
                  <a:pt x="21600" y="16764"/>
                  <a:pt x="16764" y="21600"/>
                  <a:pt x="10800" y="21600"/>
                </a:cubicBezTo>
                <a:cubicBezTo>
                  <a:pt x="10379" y="21600"/>
                  <a:pt x="9959" y="21575"/>
                  <a:pt x="9541" y="21526"/>
                </a:cubicBezTo>
                <a:lnTo>
                  <a:pt x="9227" y="24208"/>
                </a:lnTo>
                <a:lnTo>
                  <a:pt x="5570" y="19581"/>
                </a:lnTo>
                <a:lnTo>
                  <a:pt x="10198" y="15925"/>
                </a:lnTo>
                <a:lnTo>
                  <a:pt x="9884" y="18607"/>
                </a:lnTo>
                <a:close/>
              </a:path>
            </a:pathLst>
          </a:custGeom>
          <a:solidFill>
            <a:srgbClr val="7D99BA"/>
          </a:solidFill>
          <a:ln w="19050" algn="ctr">
            <a:solidFill>
              <a:srgbClr val="FFFFFF"/>
            </a:solidFill>
            <a:miter lim="800000"/>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61" name="AutoShape 210"/>
          <p:cNvSpPr>
            <a:spLocks noChangeArrowheads="1"/>
          </p:cNvSpPr>
          <p:nvPr/>
        </p:nvSpPr>
        <p:spPr bwMode="auto">
          <a:xfrm rot="21276010" flipH="1" flipV="1">
            <a:off x="2236048" y="2533122"/>
            <a:ext cx="354330" cy="445326"/>
          </a:xfrm>
          <a:custGeom>
            <a:avLst/>
            <a:gdLst>
              <a:gd name="G0" fmla="+- 6336748 0 0"/>
              <a:gd name="G1" fmla="+- 6054132 0 0"/>
              <a:gd name="G2" fmla="+- 6336748 0 6054132"/>
              <a:gd name="G3" fmla="+- 10800 0 0"/>
              <a:gd name="G4" fmla="+- 0 0 6336748"/>
              <a:gd name="T0" fmla="*/ 360 256 1"/>
              <a:gd name="T1" fmla="*/ 0 256 1"/>
              <a:gd name="G5" fmla="+- G2 T0 T1"/>
              <a:gd name="G6" fmla="?: G2 G2 G5"/>
              <a:gd name="G7" fmla="+- 0 0 G6"/>
              <a:gd name="G8" fmla="+- 7861 0 0"/>
              <a:gd name="G9" fmla="+- 0 0 6054132"/>
              <a:gd name="G10" fmla="+- 7861 0 2700"/>
              <a:gd name="G11" fmla="cos G10 6336748"/>
              <a:gd name="G12" fmla="sin G10 6336748"/>
              <a:gd name="G13" fmla="cos 13500 6336748"/>
              <a:gd name="G14" fmla="sin 13500 6336748"/>
              <a:gd name="G15" fmla="+- G11 10800 0"/>
              <a:gd name="G16" fmla="+- G12 10800 0"/>
              <a:gd name="G17" fmla="+- G13 10800 0"/>
              <a:gd name="G18" fmla="+- G14 10800 0"/>
              <a:gd name="G19" fmla="*/ 7861 1 2"/>
              <a:gd name="G20" fmla="+- G19 5400 0"/>
              <a:gd name="G21" fmla="cos G20 6336748"/>
              <a:gd name="G22" fmla="sin G20 6336748"/>
              <a:gd name="G23" fmla="+- G21 10800 0"/>
              <a:gd name="G24" fmla="+- G12 G23 G22"/>
              <a:gd name="G25" fmla="+- G22 G23 G11"/>
              <a:gd name="G26" fmla="cos 10800 6336748"/>
              <a:gd name="G27" fmla="sin 10800 6336748"/>
              <a:gd name="G28" fmla="cos 7861 6336748"/>
              <a:gd name="G29" fmla="sin 7861 6336748"/>
              <a:gd name="G30" fmla="+- G26 10800 0"/>
              <a:gd name="G31" fmla="+- G27 10800 0"/>
              <a:gd name="G32" fmla="+- G28 10800 0"/>
              <a:gd name="G33" fmla="+- G29 10800 0"/>
              <a:gd name="G34" fmla="+- G19 5400 0"/>
              <a:gd name="G35" fmla="cos G34 6054132"/>
              <a:gd name="G36" fmla="sin G34 6054132"/>
              <a:gd name="G37" fmla="+/ 6054132 6336748 2"/>
              <a:gd name="T2" fmla="*/ 180 256 1"/>
              <a:gd name="T3" fmla="*/ 0 256 1"/>
              <a:gd name="G38" fmla="+- G37 T2 T3"/>
              <a:gd name="G39" fmla="?: G2 G37 G38"/>
              <a:gd name="G40" fmla="cos 10800 G39"/>
              <a:gd name="G41" fmla="sin 10800 G39"/>
              <a:gd name="G42" fmla="cos 7861 G39"/>
              <a:gd name="G43" fmla="sin 7861 G39"/>
              <a:gd name="G44" fmla="+- G40 10800 0"/>
              <a:gd name="G45" fmla="+- G41 10800 0"/>
              <a:gd name="G46" fmla="+- G42 10800 0"/>
              <a:gd name="G47" fmla="+- G43 10800 0"/>
              <a:gd name="G48" fmla="+- G35 10800 0"/>
              <a:gd name="G49" fmla="+- G36 10800 0"/>
              <a:gd name="T4" fmla="*/ 9946 w 21600"/>
              <a:gd name="T5" fmla="*/ 21566 h 21600"/>
              <a:gd name="T6" fmla="*/ 10412 w 21600"/>
              <a:gd name="T7" fmla="*/ 20122 h 21600"/>
              <a:gd name="T8" fmla="*/ 10178 w 21600"/>
              <a:gd name="T9" fmla="*/ 18636 h 21600"/>
              <a:gd name="T10" fmla="*/ 9227 w 21600"/>
              <a:gd name="T11" fmla="*/ 24208 h 21600"/>
              <a:gd name="T12" fmla="*/ 5570 w 21600"/>
              <a:gd name="T13" fmla="*/ 19581 h 21600"/>
              <a:gd name="T14" fmla="*/ 10198 w 21600"/>
              <a:gd name="T15" fmla="*/ 15925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884" y="18607"/>
                </a:moveTo>
                <a:cubicBezTo>
                  <a:pt x="10079" y="18630"/>
                  <a:pt x="10276" y="18646"/>
                  <a:pt x="10473" y="18654"/>
                </a:cubicBezTo>
                <a:lnTo>
                  <a:pt x="10351" y="21590"/>
                </a:lnTo>
                <a:cubicBezTo>
                  <a:pt x="10080" y="21579"/>
                  <a:pt x="9810" y="21558"/>
                  <a:pt x="9541" y="21526"/>
                </a:cubicBezTo>
                <a:lnTo>
                  <a:pt x="9227" y="24208"/>
                </a:lnTo>
                <a:lnTo>
                  <a:pt x="5570" y="19581"/>
                </a:lnTo>
                <a:lnTo>
                  <a:pt x="10198" y="15925"/>
                </a:lnTo>
                <a:lnTo>
                  <a:pt x="9884" y="18607"/>
                </a:lnTo>
                <a:close/>
              </a:path>
            </a:pathLst>
          </a:custGeom>
          <a:solidFill>
            <a:srgbClr val="000000"/>
          </a:solidFill>
          <a:ln w="19050" algn="ctr">
            <a:noFill/>
            <a:miter lim="800000"/>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62" name="Freeform 211"/>
          <p:cNvSpPr>
            <a:spLocks/>
          </p:cNvSpPr>
          <p:nvPr/>
        </p:nvSpPr>
        <p:spPr bwMode="auto">
          <a:xfrm>
            <a:off x="2428930" y="2482426"/>
            <a:ext cx="184731" cy="316690"/>
          </a:xfrm>
          <a:custGeom>
            <a:avLst/>
            <a:gdLst/>
            <a:ahLst/>
            <a:cxnLst>
              <a:cxn ang="0">
                <a:pos x="0" y="77"/>
              </a:cxn>
              <a:cxn ang="0">
                <a:pos x="53" y="38"/>
              </a:cxn>
              <a:cxn ang="0">
                <a:pos x="5" y="0"/>
              </a:cxn>
            </a:cxnLst>
            <a:rect l="0" t="0" r="r" b="b"/>
            <a:pathLst>
              <a:path w="53" h="77">
                <a:moveTo>
                  <a:pt x="0" y="77"/>
                </a:moveTo>
                <a:lnTo>
                  <a:pt x="53" y="38"/>
                </a:lnTo>
                <a:lnTo>
                  <a:pt x="5" y="0"/>
                </a:lnTo>
              </a:path>
            </a:pathLst>
          </a:custGeom>
          <a:solidFill>
            <a:srgbClr val="000000"/>
          </a:solidFill>
          <a:ln w="19050" cap="flat" cmpd="sng">
            <a:solidFill>
              <a:srgbClr val="FFFFFF"/>
            </a:solidFill>
            <a:prstDash val="solid"/>
            <a:round/>
            <a:headEnd/>
            <a:tailEnd/>
          </a:ln>
          <a:effectLst/>
        </p:spPr>
        <p:txBody>
          <a:bodyPr wrap="none" anchor="ctr">
            <a:spAutoFit/>
          </a:bodyPr>
          <a:lstStyle/>
          <a:p>
            <a:pPr>
              <a:lnSpc>
                <a:spcPct val="90000"/>
              </a:lnSpc>
              <a:buClr>
                <a:schemeClr val="tx1"/>
              </a:buClr>
              <a:defRPr/>
            </a:pPr>
            <a:endParaRPr lang="en-US" sz="1620">
              <a:latin typeface="Arial" charset="0"/>
              <a:ea typeface="ＭＳ Ｐゴシック" charset="-128"/>
            </a:endParaRPr>
          </a:p>
        </p:txBody>
      </p:sp>
      <p:sp>
        <p:nvSpPr>
          <p:cNvPr id="56" name="Line 96"/>
          <p:cNvSpPr>
            <a:spLocks noChangeShapeType="1"/>
          </p:cNvSpPr>
          <p:nvPr/>
        </p:nvSpPr>
        <p:spPr bwMode="auto">
          <a:xfrm flipH="1">
            <a:off x="6359421" y="2446460"/>
            <a:ext cx="814388" cy="5715"/>
          </a:xfrm>
          <a:prstGeom prst="line">
            <a:avLst/>
          </a:prstGeom>
          <a:noFill/>
          <a:ln w="12700">
            <a:solidFill>
              <a:schemeClr val="accent2"/>
            </a:solidFill>
            <a:round/>
            <a:headEnd type="triangle" w="med" len="med"/>
            <a:tailEnd/>
          </a:ln>
          <a:extLst>
            <a:ext uri="{909E8E84-426E-40DD-AFC4-6F175D3DCCD1}">
              <a14:hiddenFill xmlns:a14="http://schemas.microsoft.com/office/drawing/2010/main">
                <a:noFill/>
              </a14:hiddenFill>
            </a:ext>
          </a:extLst>
        </p:spPr>
        <p:txBody>
          <a:bodyPr anchor="ctr"/>
          <a:lstStyle/>
          <a:p>
            <a:endParaRPr lang="en-AU"/>
          </a:p>
        </p:txBody>
      </p:sp>
      <p:sp>
        <p:nvSpPr>
          <p:cNvPr id="57" name="Line 96"/>
          <p:cNvSpPr>
            <a:spLocks noChangeShapeType="1"/>
          </p:cNvSpPr>
          <p:nvPr/>
        </p:nvSpPr>
        <p:spPr bwMode="auto">
          <a:xfrm flipH="1">
            <a:off x="6359421" y="3338000"/>
            <a:ext cx="814388" cy="5715"/>
          </a:xfrm>
          <a:prstGeom prst="line">
            <a:avLst/>
          </a:prstGeom>
          <a:noFill/>
          <a:ln w="12700">
            <a:solidFill>
              <a:schemeClr val="accent2"/>
            </a:solidFill>
            <a:round/>
            <a:headEnd type="triangle" w="med" len="med"/>
            <a:tailEnd/>
          </a:ln>
          <a:extLst>
            <a:ext uri="{909E8E84-426E-40DD-AFC4-6F175D3DCCD1}">
              <a14:hiddenFill xmlns:a14="http://schemas.microsoft.com/office/drawing/2010/main">
                <a:noFill/>
              </a14:hiddenFill>
            </a:ext>
          </a:extLst>
        </p:spPr>
        <p:txBody>
          <a:bodyPr anchor="ctr"/>
          <a:lstStyle/>
          <a:p>
            <a:endParaRPr lang="en-AU"/>
          </a:p>
        </p:txBody>
      </p:sp>
      <p:sp>
        <p:nvSpPr>
          <p:cNvPr id="58" name="Line 96"/>
          <p:cNvSpPr>
            <a:spLocks noChangeShapeType="1"/>
          </p:cNvSpPr>
          <p:nvPr/>
        </p:nvSpPr>
        <p:spPr bwMode="auto">
          <a:xfrm flipH="1">
            <a:off x="6330846" y="1420618"/>
            <a:ext cx="862965" cy="340043"/>
          </a:xfrm>
          <a:prstGeom prst="line">
            <a:avLst/>
          </a:prstGeom>
          <a:noFill/>
          <a:ln w="12700">
            <a:solidFill>
              <a:schemeClr val="accent2"/>
            </a:solidFill>
            <a:round/>
            <a:headEnd type="triangle" w="med" len="med"/>
            <a:tailEnd/>
          </a:ln>
          <a:extLst>
            <a:ext uri="{909E8E84-426E-40DD-AFC4-6F175D3DCCD1}">
              <a14:hiddenFill xmlns:a14="http://schemas.microsoft.com/office/drawing/2010/main">
                <a:noFill/>
              </a14:hiddenFill>
            </a:ext>
          </a:extLst>
        </p:spPr>
        <p:txBody>
          <a:bodyPr anchor="ctr"/>
          <a:lstStyle/>
          <a:p>
            <a:endParaRPr lang="en-AU"/>
          </a:p>
        </p:txBody>
      </p:sp>
      <p:grpSp>
        <p:nvGrpSpPr>
          <p:cNvPr id="32" name="Group 31"/>
          <p:cNvGrpSpPr/>
          <p:nvPr/>
        </p:nvGrpSpPr>
        <p:grpSpPr>
          <a:xfrm>
            <a:off x="1646669" y="4059445"/>
            <a:ext cx="6136517" cy="747897"/>
            <a:chOff x="983657" y="2004418"/>
            <a:chExt cx="6818353" cy="830997"/>
          </a:xfrm>
        </p:grpSpPr>
        <p:sp>
          <p:nvSpPr>
            <p:cNvPr id="41" name="Shape 73"/>
            <p:cNvSpPr/>
            <p:nvPr/>
          </p:nvSpPr>
          <p:spPr>
            <a:xfrm>
              <a:off x="983657" y="2004418"/>
              <a:ext cx="1583519"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Too rigid to support the business</a:t>
              </a:r>
              <a:endParaRPr sz="1890" dirty="0"/>
            </a:p>
          </p:txBody>
        </p:sp>
        <p:sp>
          <p:nvSpPr>
            <p:cNvPr id="46" name="Shape 75"/>
            <p:cNvSpPr/>
            <p:nvPr/>
          </p:nvSpPr>
          <p:spPr>
            <a:xfrm>
              <a:off x="2859039" y="2050865"/>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sp>
          <p:nvSpPr>
            <p:cNvPr id="47" name="Rectangle 46"/>
            <p:cNvSpPr/>
            <p:nvPr/>
          </p:nvSpPr>
          <p:spPr>
            <a:xfrm>
              <a:off x="3099283" y="2071102"/>
              <a:ext cx="4702727" cy="706747"/>
            </a:xfrm>
            <a:prstGeom prst="rect">
              <a:avLst/>
            </a:prstGeom>
          </p:spPr>
          <p:txBody>
            <a:bodyPr wrap="square">
              <a:spAutoFit/>
            </a:bodyPr>
            <a:lstStyle/>
            <a:p>
              <a:pPr defTabSz="822960">
                <a:spcBef>
                  <a:spcPts val="360"/>
                </a:spcBef>
              </a:pPr>
              <a:r>
                <a:rPr lang="en-AU" sz="1600" dirty="0">
                  <a:solidFill>
                    <a:srgbClr val="000202"/>
                  </a:solidFill>
                </a:rPr>
                <a:t>The cost is </a:t>
              </a:r>
              <a:r>
                <a:rPr lang="en-AU" sz="1600" dirty="0" smtClean="0">
                  <a:solidFill>
                    <a:srgbClr val="000202"/>
                  </a:solidFill>
                </a:rPr>
                <a:t>$250K </a:t>
              </a:r>
              <a:r>
                <a:rPr lang="en-AU" sz="1600" dirty="0">
                  <a:solidFill>
                    <a:srgbClr val="000202"/>
                  </a:solidFill>
                </a:rPr>
                <a:t>and it takes 6</a:t>
              </a:r>
              <a:r>
                <a:rPr lang="en-AU" sz="1600" dirty="0" smtClean="0">
                  <a:solidFill>
                    <a:srgbClr val="000202"/>
                  </a:solidFill>
                </a:rPr>
                <a:t> </a:t>
              </a:r>
              <a:r>
                <a:rPr lang="en-AU" sz="1600" dirty="0">
                  <a:solidFill>
                    <a:srgbClr val="000202"/>
                  </a:solidFill>
                </a:rPr>
                <a:t>months.</a:t>
              </a:r>
            </a:p>
            <a:p>
              <a:pPr defTabSz="822960">
                <a:spcBef>
                  <a:spcPts val="360"/>
                </a:spcBef>
              </a:pPr>
              <a:r>
                <a:rPr lang="en-AU" sz="1600" dirty="0">
                  <a:solidFill>
                    <a:srgbClr val="000202"/>
                  </a:solidFill>
                </a:rPr>
                <a:t>Now, what </a:t>
              </a:r>
              <a:r>
                <a:rPr lang="en-AU" sz="1600" dirty="0" smtClean="0">
                  <a:solidFill>
                    <a:srgbClr val="000202"/>
                  </a:solidFill>
                </a:rPr>
                <a:t>do you need?</a:t>
              </a:r>
              <a:endParaRPr lang="en-AU" sz="1600" dirty="0">
                <a:solidFill>
                  <a:srgbClr val="000202"/>
                </a:solidFill>
              </a:endParaRPr>
            </a:p>
          </p:txBody>
        </p:sp>
      </p:grpSp>
    </p:spTree>
    <p:extLst>
      <p:ext uri="{BB962C8B-B14F-4D97-AF65-F5344CB8AC3E}">
        <p14:creationId xmlns:p14="http://schemas.microsoft.com/office/powerpoint/2010/main" val="292816210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74" name="Shape 74"/>
          <p:cNvSpPr/>
          <p:nvPr/>
        </p:nvSpPr>
        <p:spPr>
          <a:xfrm>
            <a:off x="3298461" y="1923906"/>
            <a:ext cx="5437270" cy="1661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20" name="Shape 72"/>
          <p:cNvSpPr txBox="1">
            <a:spLocks/>
          </p:cNvSpPr>
          <p:nvPr/>
        </p:nvSpPr>
        <p:spPr>
          <a:xfrm>
            <a:off x="2673495" y="992217"/>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fontScale="92500" lnSpcReduction="10000"/>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lgn="ctr">
              <a:defRPr sz="1800" b="0">
                <a:solidFill>
                  <a:srgbClr val="000000"/>
                </a:solidFill>
              </a:defRPr>
            </a:pPr>
            <a:r>
              <a:rPr lang="en-AU" sz="1620" dirty="0"/>
              <a:t>Why is the current world a problem?</a:t>
            </a:r>
          </a:p>
          <a:p>
            <a:pPr algn="ctr">
              <a:defRPr sz="1800" b="0">
                <a:solidFill>
                  <a:srgbClr val="000000"/>
                </a:solidFill>
              </a:defRPr>
            </a:pPr>
            <a:r>
              <a:rPr lang="en-AU" sz="1620" dirty="0"/>
              <a:t>Internal survey</a:t>
            </a:r>
          </a:p>
        </p:txBody>
      </p:sp>
      <p:grpSp>
        <p:nvGrpSpPr>
          <p:cNvPr id="21" name="Group 20"/>
          <p:cNvGrpSpPr/>
          <p:nvPr/>
        </p:nvGrpSpPr>
        <p:grpSpPr>
          <a:xfrm>
            <a:off x="1068672" y="3737404"/>
            <a:ext cx="7457502" cy="611035"/>
            <a:chOff x="618989" y="1581650"/>
            <a:chExt cx="8286113" cy="678928"/>
          </a:xfrm>
        </p:grpSpPr>
        <p:sp>
          <p:nvSpPr>
            <p:cNvPr id="22" name="Shape 73"/>
            <p:cNvSpPr/>
            <p:nvPr/>
          </p:nvSpPr>
          <p:spPr>
            <a:xfrm>
              <a:off x="618989" y="1668458"/>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t>No agility and too expensive</a:t>
              </a:r>
              <a:endParaRPr sz="1620" dirty="0"/>
            </a:p>
          </p:txBody>
        </p:sp>
        <p:sp>
          <p:nvSpPr>
            <p:cNvPr id="23" name="Shape 74"/>
            <p:cNvSpPr/>
            <p:nvPr/>
          </p:nvSpPr>
          <p:spPr>
            <a:xfrm>
              <a:off x="2921430" y="1668458"/>
              <a:ext cx="5983672" cy="53518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Making changes too slow and too expensive</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956236" y="1688413"/>
            <a:ext cx="7526356" cy="1113795"/>
            <a:chOff x="542484" y="1581650"/>
            <a:chExt cx="8362618" cy="1237550"/>
          </a:xfrm>
        </p:grpSpPr>
        <p:sp>
          <p:nvSpPr>
            <p:cNvPr id="30" name="Shape 73"/>
            <p:cNvSpPr/>
            <p:nvPr/>
          </p:nvSpPr>
          <p:spPr>
            <a:xfrm>
              <a:off x="542484" y="1681287"/>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I am not getting all the data</a:t>
              </a:r>
              <a:endParaRPr sz="1890" dirty="0"/>
            </a:p>
          </p:txBody>
        </p:sp>
        <p:sp>
          <p:nvSpPr>
            <p:cNvPr id="31" name="Shape 74"/>
            <p:cNvSpPr/>
            <p:nvPr/>
          </p:nvSpPr>
          <p:spPr>
            <a:xfrm>
              <a:off x="2921430" y="1668458"/>
              <a:ext cx="5983672" cy="11507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Data coverage’ was identified as the top issue for business users. Business decisions are being made on sub sets of data. I need all the data.</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4" name="Group 3"/>
          <p:cNvGrpSpPr/>
          <p:nvPr/>
        </p:nvGrpSpPr>
        <p:grpSpPr>
          <a:xfrm>
            <a:off x="982164" y="2715540"/>
            <a:ext cx="7315370" cy="941544"/>
            <a:chOff x="1188697" y="2050865"/>
            <a:chExt cx="6482586" cy="1046160"/>
          </a:xfrm>
        </p:grpSpPr>
        <p:sp>
          <p:nvSpPr>
            <p:cNvPr id="73" name="Shape 73"/>
            <p:cNvSpPr/>
            <p:nvPr/>
          </p:nvSpPr>
          <p:spPr>
            <a:xfrm>
              <a:off x="1188697" y="2050865"/>
              <a:ext cx="1583519"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t>I don’t trust the data I get</a:t>
              </a:r>
              <a:endParaRPr sz="1620" dirty="0"/>
            </a:p>
          </p:txBody>
        </p:sp>
        <p:sp>
          <p:nvSpPr>
            <p:cNvPr id="75" name="Shape 75"/>
            <p:cNvSpPr/>
            <p:nvPr/>
          </p:nvSpPr>
          <p:spPr>
            <a:xfrm>
              <a:off x="2859039" y="2050865"/>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sp>
          <p:nvSpPr>
            <p:cNvPr id="3" name="Rectangle 2"/>
            <p:cNvSpPr/>
            <p:nvPr/>
          </p:nvSpPr>
          <p:spPr>
            <a:xfrm>
              <a:off x="3099283" y="2071102"/>
              <a:ext cx="4572000" cy="1025923"/>
            </a:xfrm>
            <a:prstGeom prst="rect">
              <a:avLst/>
            </a:prstGeom>
          </p:spPr>
          <p:txBody>
            <a:bodyPr>
              <a:spAutoFit/>
            </a:bodyPr>
            <a:lstStyle/>
            <a:p>
              <a:pPr defTabSz="822960">
                <a:spcBef>
                  <a:spcPts val="360"/>
                </a:spcBef>
              </a:pPr>
              <a:r>
                <a:rPr lang="en-AU" dirty="0" smtClean="0">
                  <a:solidFill>
                    <a:srgbClr val="000202"/>
                  </a:solidFill>
                </a:rPr>
                <a:t>Because I am working with limited data, I cannot reconcile with other data.</a:t>
              </a:r>
              <a:endParaRPr lang="en-AU" dirty="0">
                <a:solidFill>
                  <a:srgbClr val="000202"/>
                </a:solidFill>
              </a:endParaRPr>
            </a:p>
          </p:txBody>
        </p:sp>
      </p:grpSp>
    </p:spTree>
    <p:extLst>
      <p:ext uri="{BB962C8B-B14F-4D97-AF65-F5344CB8AC3E}">
        <p14:creationId xmlns:p14="http://schemas.microsoft.com/office/powerpoint/2010/main" val="154238800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2" name="Title 4"/>
          <p:cNvSpPr txBox="1">
            <a:spLocks/>
          </p:cNvSpPr>
          <p:nvPr/>
        </p:nvSpPr>
        <p:spPr>
          <a:xfrm>
            <a:off x="2674855" y="1049243"/>
            <a:ext cx="3171824" cy="4486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a:defRPr sz="2200" b="1">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defTabSz="822960"/>
            <a:r>
              <a:rPr lang="en-US" altLang="en-US" sz="1980" dirty="0"/>
              <a:t>The Cloud Vision</a:t>
            </a:r>
          </a:p>
        </p:txBody>
      </p:sp>
      <p:sp>
        <p:nvSpPr>
          <p:cNvPr id="23" name="Text Box 4"/>
          <p:cNvSpPr txBox="1">
            <a:spLocks noChangeArrowheads="1"/>
          </p:cNvSpPr>
          <p:nvPr/>
        </p:nvSpPr>
        <p:spPr bwMode="auto">
          <a:xfrm>
            <a:off x="771759" y="1039499"/>
            <a:ext cx="925830" cy="391517"/>
          </a:xfrm>
          <a:prstGeom prst="rect">
            <a:avLst/>
          </a:prstGeom>
          <a:noFill/>
          <a:ln w="9525">
            <a:noFill/>
            <a:miter lim="800000"/>
            <a:headEnd/>
            <a:tailEnd/>
          </a:ln>
          <a:effectLst/>
        </p:spPr>
        <p:txBody>
          <a:bodyPr>
            <a:spAutoFit/>
          </a:bodyPr>
          <a:lstStyle/>
          <a:p>
            <a:pPr algn="ctr">
              <a:lnSpc>
                <a:spcPct val="90000"/>
              </a:lnSpc>
              <a:buClr>
                <a:schemeClr val="tx1"/>
              </a:buClr>
              <a:defRPr/>
            </a:pPr>
            <a:r>
              <a:rPr lang="en-US" sz="1080" dirty="0">
                <a:latin typeface="Arial" charset="0"/>
                <a:ea typeface="ＭＳ Ｐゴシック" charset="-128"/>
              </a:rPr>
              <a:t>Source Systems</a:t>
            </a:r>
          </a:p>
        </p:txBody>
      </p:sp>
      <p:sp>
        <p:nvSpPr>
          <p:cNvPr id="24" name="Rectangle 5"/>
          <p:cNvSpPr>
            <a:spLocks noChangeArrowheads="1"/>
          </p:cNvSpPr>
          <p:nvPr/>
        </p:nvSpPr>
        <p:spPr bwMode="auto">
          <a:xfrm>
            <a:off x="880344" y="3977008"/>
            <a:ext cx="604362"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External Sources</a:t>
            </a:r>
          </a:p>
        </p:txBody>
      </p:sp>
      <p:sp>
        <p:nvSpPr>
          <p:cNvPr id="25" name="Rectangle 9"/>
          <p:cNvSpPr>
            <a:spLocks noChangeArrowheads="1"/>
          </p:cNvSpPr>
          <p:nvPr/>
        </p:nvSpPr>
        <p:spPr bwMode="auto">
          <a:xfrm>
            <a:off x="880344" y="3235487"/>
            <a:ext cx="604362"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Billing</a:t>
            </a:r>
          </a:p>
        </p:txBody>
      </p:sp>
      <p:sp>
        <p:nvSpPr>
          <p:cNvPr id="26" name="Rectangle 13"/>
          <p:cNvSpPr>
            <a:spLocks noChangeArrowheads="1"/>
          </p:cNvSpPr>
          <p:nvPr/>
        </p:nvSpPr>
        <p:spPr bwMode="auto">
          <a:xfrm>
            <a:off x="880344" y="2715422"/>
            <a:ext cx="604362"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HR</a:t>
            </a:r>
          </a:p>
        </p:txBody>
      </p:sp>
      <p:sp>
        <p:nvSpPr>
          <p:cNvPr id="27" name="Rectangle 17"/>
          <p:cNvSpPr>
            <a:spLocks noChangeArrowheads="1"/>
          </p:cNvSpPr>
          <p:nvPr/>
        </p:nvSpPr>
        <p:spPr bwMode="auto">
          <a:xfrm>
            <a:off x="880344" y="2205358"/>
            <a:ext cx="604362"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ERP</a:t>
            </a:r>
          </a:p>
        </p:txBody>
      </p:sp>
      <p:sp>
        <p:nvSpPr>
          <p:cNvPr id="29" name="Rectangle 21"/>
          <p:cNvSpPr>
            <a:spLocks noChangeArrowheads="1"/>
          </p:cNvSpPr>
          <p:nvPr/>
        </p:nvSpPr>
        <p:spPr bwMode="auto">
          <a:xfrm>
            <a:off x="880344" y="1673863"/>
            <a:ext cx="604362" cy="437198"/>
          </a:xfrm>
          <a:prstGeom prst="rect">
            <a:avLst/>
          </a:prstGeom>
          <a:gradFill rotWithShape="1">
            <a:gsLst>
              <a:gs pos="0">
                <a:srgbClr val="267E8A"/>
              </a:gs>
              <a:gs pos="100000">
                <a:schemeClr val="accent2">
                  <a:alpha val="75000"/>
                </a:schemeClr>
              </a:gs>
            </a:gsLst>
            <a:lin ang="5400000" scaled="1"/>
          </a:gradFill>
          <a:ln w="6350">
            <a:solidFill>
              <a:schemeClr val="tx1"/>
            </a:solidFill>
            <a:miter lim="800000"/>
            <a:headEnd/>
            <a:tailEnd/>
          </a:ln>
          <a:effectLst>
            <a:outerShdw blurRad="50800" dist="38100" dir="2700000" algn="tl" rotWithShape="0">
              <a:srgbClr val="000000">
                <a:alpha val="39998"/>
              </a:srgbClr>
            </a:outerShdw>
          </a:effectLst>
        </p:spPr>
        <p:txBody>
          <a:bodyPr tIns="0" rIns="0" bIns="0" anchor="ctr"/>
          <a:lstStyle/>
          <a:p>
            <a:pPr algn="ctr">
              <a:lnSpc>
                <a:spcPct val="90000"/>
              </a:lnSpc>
              <a:buClr>
                <a:schemeClr val="tx1"/>
              </a:buClr>
              <a:defRPr/>
            </a:pPr>
            <a:r>
              <a:rPr lang="en-US" sz="720" dirty="0">
                <a:solidFill>
                  <a:schemeClr val="bg1"/>
                </a:solidFill>
                <a:latin typeface="Arial" charset="0"/>
                <a:ea typeface="ＭＳ Ｐゴシック" charset="-128"/>
              </a:rPr>
              <a:t>CRM</a:t>
            </a:r>
          </a:p>
        </p:txBody>
      </p:sp>
      <p:sp>
        <p:nvSpPr>
          <p:cNvPr id="30" name="Line 25"/>
          <p:cNvSpPr>
            <a:spLocks noChangeShapeType="1"/>
          </p:cNvSpPr>
          <p:nvPr/>
        </p:nvSpPr>
        <p:spPr bwMode="auto">
          <a:xfrm flipH="1">
            <a:off x="1174667" y="3774126"/>
            <a:ext cx="1429" cy="154305"/>
          </a:xfrm>
          <a:prstGeom prst="line">
            <a:avLst/>
          </a:prstGeom>
          <a:noFill/>
          <a:ln w="28575">
            <a:solidFill>
              <a:srgbClr val="000066"/>
            </a:solidFill>
            <a:prstDash val="sysDot"/>
            <a:round/>
            <a:headEnd/>
            <a:tailEnd/>
          </a:ln>
          <a:effectLst>
            <a:outerShdw blurRad="50800" dist="38100" dir="2700000" algn="tl" rotWithShape="0">
              <a:srgbClr val="000000">
                <a:alpha val="39998"/>
              </a:srgbClr>
            </a:outerShdw>
          </a:effectLst>
        </p:spPr>
        <p:txBody>
          <a:bodyPr anchor="ctr">
            <a:spAutoFit/>
          </a:bodyPr>
          <a:lstStyle/>
          <a:p>
            <a:pPr>
              <a:lnSpc>
                <a:spcPct val="90000"/>
              </a:lnSpc>
              <a:buClr>
                <a:schemeClr val="tx1"/>
              </a:buClr>
              <a:defRPr/>
            </a:pPr>
            <a:endParaRPr lang="en-US">
              <a:latin typeface="Arial" charset="0"/>
              <a:ea typeface="ＭＳ Ｐゴシック" charset="-128"/>
              <a:cs typeface="ＭＳ Ｐゴシック" charset="-128"/>
            </a:endParaRPr>
          </a:p>
        </p:txBody>
      </p:sp>
      <p:sp>
        <p:nvSpPr>
          <p:cNvPr id="31" name="Line 41"/>
          <p:cNvSpPr>
            <a:spLocks noChangeShapeType="1"/>
          </p:cNvSpPr>
          <p:nvPr/>
        </p:nvSpPr>
        <p:spPr bwMode="auto">
          <a:xfrm>
            <a:off x="1701876" y="1566707"/>
            <a:ext cx="0" cy="2964657"/>
          </a:xfrm>
          <a:prstGeom prst="line">
            <a:avLst/>
          </a:prstGeom>
          <a:noFill/>
          <a:ln w="19050">
            <a:solidFill>
              <a:srgbClr val="000066"/>
            </a:solidFill>
            <a:round/>
            <a:headEnd/>
            <a:tailEnd/>
          </a:ln>
          <a:effectLst/>
        </p:spPr>
        <p:txBody>
          <a:bodyPr anchor="ctr">
            <a:spAutoFit/>
          </a:bodyPr>
          <a:lstStyle/>
          <a:p>
            <a:pPr>
              <a:lnSpc>
                <a:spcPct val="90000"/>
              </a:lnSpc>
              <a:buClr>
                <a:schemeClr val="tx1"/>
              </a:buClr>
              <a:defRPr/>
            </a:pPr>
            <a:endParaRPr lang="en-US" sz="1620">
              <a:latin typeface="Arial" charset="0"/>
              <a:ea typeface="ＭＳ Ｐゴシック" charset="-128"/>
            </a:endParaRPr>
          </a:p>
        </p:txBody>
      </p:sp>
      <p:sp>
        <p:nvSpPr>
          <p:cNvPr id="32" name="Line 67"/>
          <p:cNvSpPr>
            <a:spLocks noChangeShapeType="1"/>
          </p:cNvSpPr>
          <p:nvPr/>
        </p:nvSpPr>
        <p:spPr bwMode="auto">
          <a:xfrm flipH="1">
            <a:off x="1697589" y="3092612"/>
            <a:ext cx="1954530" cy="22860"/>
          </a:xfrm>
          <a:prstGeom prst="line">
            <a:avLst/>
          </a:prstGeom>
          <a:noFill/>
          <a:ln w="19050">
            <a:solidFill>
              <a:srgbClr val="000066"/>
            </a:solidFill>
            <a:round/>
            <a:headEnd/>
            <a:tailEnd/>
          </a:ln>
          <a:effectLst/>
        </p:spPr>
        <p:txBody>
          <a:bodyPr wrap="square" anchor="ctr">
            <a:spAutoFit/>
          </a:bodyPr>
          <a:lstStyle/>
          <a:p>
            <a:pPr>
              <a:lnSpc>
                <a:spcPct val="90000"/>
              </a:lnSpc>
              <a:buClr>
                <a:schemeClr val="tx1"/>
              </a:buClr>
              <a:defRPr/>
            </a:pPr>
            <a:endParaRPr lang="en-US" sz="1620">
              <a:latin typeface="Arial" charset="0"/>
              <a:ea typeface="ＭＳ Ｐゴシック" charset="-128"/>
            </a:endParaRPr>
          </a:p>
        </p:txBody>
      </p:sp>
      <p:sp>
        <p:nvSpPr>
          <p:cNvPr id="4" name="Cloud 3"/>
          <p:cNvSpPr/>
          <p:nvPr/>
        </p:nvSpPr>
        <p:spPr>
          <a:xfrm>
            <a:off x="2132176" y="2063935"/>
            <a:ext cx="4051562" cy="1970200"/>
          </a:xfrm>
          <a:prstGeom prst="cloud">
            <a:avLst/>
          </a:prstGeom>
          <a:solidFill>
            <a:srgbClr val="FFFFFF"/>
          </a:solidFill>
          <a:ln w="25400" cap="flat">
            <a:solidFill>
              <a:srgbClr val="34B1EC"/>
            </a:solidFill>
            <a:prstDash val="solid"/>
            <a:bevel/>
          </a:ln>
          <a:effectLst>
            <a:outerShdw blurRad="38100" dist="23000" dir="5400000" rotWithShape="0">
              <a:srgbClr val="000000">
                <a:alpha val="35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1147" tIns="41147" rIns="41147" bIns="41147" numCol="1" spcCol="38100" rtlCol="0" anchor="ctr">
            <a:spAutoFit/>
          </a:bodyPr>
          <a:lstStyle/>
          <a:p>
            <a:pPr algn="l" defTabSz="411480" rtl="0" latinLnBrk="1" hangingPunct="0"/>
            <a:endParaRPr lang="en-AU" sz="1620">
              <a:solidFill>
                <a:srgbClr val="000000"/>
              </a:solidFill>
              <a:latin typeface="Arial"/>
              <a:ea typeface="Arial"/>
              <a:cs typeface="Arial"/>
              <a:sym typeface="Arial"/>
            </a:endParaRPr>
          </a:p>
        </p:txBody>
      </p:sp>
      <p:pic>
        <p:nvPicPr>
          <p:cNvPr id="42"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590298" y="1456811"/>
            <a:ext cx="544116" cy="54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3" name="Picture 42"/>
          <p:cNvPicPr>
            <a:picLocks noChangeAspect="1"/>
          </p:cNvPicPr>
          <p:nvPr/>
        </p:nvPicPr>
        <p:blipFill>
          <a:blip r:embed="rId4"/>
          <a:stretch>
            <a:fillRect/>
          </a:stretch>
        </p:blipFill>
        <p:spPr>
          <a:xfrm>
            <a:off x="6765115" y="2569427"/>
            <a:ext cx="487074" cy="364593"/>
          </a:xfrm>
          <a:prstGeom prst="rect">
            <a:avLst/>
          </a:prstGeom>
        </p:spPr>
      </p:pic>
      <p:pic>
        <p:nvPicPr>
          <p:cNvPr id="44" name="Picture 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65115" y="3727964"/>
            <a:ext cx="640556"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1" name="Straight Arrow Connector 40"/>
          <p:cNvCxnSpPr/>
          <p:nvPr/>
        </p:nvCxnSpPr>
        <p:spPr>
          <a:xfrm flipV="1">
            <a:off x="5941528" y="1892462"/>
            <a:ext cx="557657" cy="218599"/>
          </a:xfrm>
          <a:prstGeom prst="straightConnector1">
            <a:avLst/>
          </a:prstGeom>
          <a:noFill/>
          <a:ln w="25400" cap="flat">
            <a:solidFill>
              <a:srgbClr val="34B1EC"/>
            </a:solidFill>
            <a:prstDash val="solid"/>
            <a:bevel/>
            <a:headEnd type="triangle"/>
            <a:tailEnd type="triangle"/>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46" name="Straight Arrow Connector 45"/>
          <p:cNvCxnSpPr/>
          <p:nvPr/>
        </p:nvCxnSpPr>
        <p:spPr>
          <a:xfrm flipV="1">
            <a:off x="6220356" y="2751724"/>
            <a:ext cx="544759" cy="20491"/>
          </a:xfrm>
          <a:prstGeom prst="straightConnector1">
            <a:avLst/>
          </a:prstGeom>
          <a:noFill/>
          <a:ln w="25400" cap="flat">
            <a:solidFill>
              <a:srgbClr val="34B1EC"/>
            </a:solidFill>
            <a:prstDash val="solid"/>
            <a:bevel/>
            <a:headEnd type="triangle"/>
            <a:tailEnd type="triangle"/>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cxnSp>
        <p:nvCxnSpPr>
          <p:cNvPr id="49" name="Straight Arrow Connector 48"/>
          <p:cNvCxnSpPr>
            <a:endCxn id="44" idx="1"/>
          </p:cNvCxnSpPr>
          <p:nvPr/>
        </p:nvCxnSpPr>
        <p:spPr>
          <a:xfrm>
            <a:off x="6051245" y="3727964"/>
            <a:ext cx="713870" cy="171450"/>
          </a:xfrm>
          <a:prstGeom prst="straightConnector1">
            <a:avLst/>
          </a:prstGeom>
          <a:noFill/>
          <a:ln w="25400" cap="flat">
            <a:solidFill>
              <a:srgbClr val="34B1EC"/>
            </a:solidFill>
            <a:prstDash val="solid"/>
            <a:bevel/>
            <a:headEnd type="triangle"/>
            <a:tailEnd type="triangle"/>
          </a:ln>
          <a:effectLst>
            <a:outerShdw blurRad="38100" dist="20000" dir="5400000" rotWithShape="0">
              <a:srgbClr val="000000">
                <a:alpha val="38000"/>
              </a:srgbClr>
            </a:outerShdw>
          </a:effectLst>
        </p:spPr>
        <p:style>
          <a:lnRef idx="0">
            <a:scrgbClr r="0" g="0" b="0"/>
          </a:lnRef>
          <a:fillRef idx="0">
            <a:scrgbClr r="0" g="0" b="0"/>
          </a:fillRef>
          <a:effectRef idx="0">
            <a:scrgbClr r="0" g="0" b="0"/>
          </a:effectRef>
          <a:fontRef idx="none"/>
        </p:style>
      </p:cxnSp>
      <p:sp>
        <p:nvSpPr>
          <p:cNvPr id="50" name="Rectangle 49"/>
          <p:cNvSpPr/>
          <p:nvPr/>
        </p:nvSpPr>
        <p:spPr>
          <a:xfrm>
            <a:off x="3293606" y="2338472"/>
            <a:ext cx="1704963" cy="1191095"/>
          </a:xfrm>
          <a:prstGeom prst="rect">
            <a:avLst/>
          </a:prstGeom>
          <a:noFill/>
        </p:spPr>
        <p:txBody>
          <a:bodyPr wrap="square" lIns="82296" tIns="41148" rIns="82296" bIns="41148">
            <a:spAutoFit/>
          </a:bodyPr>
          <a:lstStyle/>
          <a:p>
            <a:pPr algn="ctr"/>
            <a:r>
              <a:rPr lang="en-US" sz="7200" b="1"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t>
            </a:r>
          </a:p>
        </p:txBody>
      </p:sp>
    </p:spTree>
    <p:extLst>
      <p:ext uri="{BB962C8B-B14F-4D97-AF65-F5344CB8AC3E}">
        <p14:creationId xmlns:p14="http://schemas.microsoft.com/office/powerpoint/2010/main" val="304865812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74" name="Shape 74"/>
          <p:cNvSpPr/>
          <p:nvPr/>
        </p:nvSpPr>
        <p:spPr>
          <a:xfrm>
            <a:off x="3279714" y="1923906"/>
            <a:ext cx="5385305" cy="1661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0" name="Shape 72"/>
          <p:cNvSpPr txBox="1">
            <a:spLocks/>
          </p:cNvSpPr>
          <p:nvPr/>
        </p:nvSpPr>
        <p:spPr>
          <a:xfrm>
            <a:off x="2673495" y="992217"/>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What would the data Lake provide?</a:t>
            </a:r>
          </a:p>
          <a:p>
            <a:pPr>
              <a:defRPr sz="1800" b="0">
                <a:solidFill>
                  <a:srgbClr val="000000"/>
                </a:solidFill>
              </a:defRPr>
            </a:pPr>
            <a:endParaRPr lang="en-AU" sz="1620" dirty="0"/>
          </a:p>
        </p:txBody>
      </p:sp>
      <p:grpSp>
        <p:nvGrpSpPr>
          <p:cNvPr id="21" name="Group 20"/>
          <p:cNvGrpSpPr/>
          <p:nvPr/>
        </p:nvGrpSpPr>
        <p:grpSpPr>
          <a:xfrm>
            <a:off x="1310689" y="2691330"/>
            <a:ext cx="7327976" cy="1113795"/>
            <a:chOff x="762907" y="1581650"/>
            <a:chExt cx="8142195" cy="1237550"/>
          </a:xfrm>
        </p:grpSpPr>
        <p:sp>
          <p:nvSpPr>
            <p:cNvPr id="22" name="Shape 73"/>
            <p:cNvSpPr/>
            <p:nvPr/>
          </p:nvSpPr>
          <p:spPr>
            <a:xfrm>
              <a:off x="762907" y="1608298"/>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endParaRPr lang="en-AU" sz="1620" dirty="0">
                <a:solidFill>
                  <a:srgbClr val="000000"/>
                </a:solidFill>
              </a:endParaRPr>
            </a:p>
            <a:p>
              <a:pPr lvl="0">
                <a:defRPr sz="1800">
                  <a:solidFill>
                    <a:srgbClr val="000000"/>
                  </a:solidFill>
                </a:defRPr>
              </a:pPr>
              <a:r>
                <a:rPr lang="en-AU" sz="1620" dirty="0">
                  <a:solidFill>
                    <a:srgbClr val="000000"/>
                  </a:solidFill>
                </a:rPr>
                <a:t>Cost reduction</a:t>
              </a:r>
              <a:endParaRPr sz="1890" dirty="0"/>
            </a:p>
          </p:txBody>
        </p:sp>
        <p:sp>
          <p:nvSpPr>
            <p:cNvPr id="23" name="Shape 74"/>
            <p:cNvSpPr/>
            <p:nvPr/>
          </p:nvSpPr>
          <p:spPr>
            <a:xfrm>
              <a:off x="2921430" y="1668458"/>
              <a:ext cx="5983672" cy="11507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data lake is moving to customer self service. Old expensive data marts will be migrated into the new environment</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1310689" y="3764478"/>
            <a:ext cx="7823150" cy="1493387"/>
            <a:chOff x="762907" y="1581650"/>
            <a:chExt cx="8692389" cy="1659318"/>
          </a:xfrm>
        </p:grpSpPr>
        <p:sp>
          <p:nvSpPr>
            <p:cNvPr id="30"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Transformation </a:t>
              </a:r>
              <a:endParaRPr sz="1890" dirty="0"/>
            </a:p>
          </p:txBody>
        </p:sp>
        <p:sp>
          <p:nvSpPr>
            <p:cNvPr id="31" name="Shape 74"/>
            <p:cNvSpPr/>
            <p:nvPr/>
          </p:nvSpPr>
          <p:spPr>
            <a:xfrm>
              <a:off x="2921429" y="1668458"/>
              <a:ext cx="6533867" cy="157251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IT will move to an on demand model. </a:t>
              </a:r>
            </a:p>
            <a:p>
              <a:pPr defTabSz="822960">
                <a:spcBef>
                  <a:spcPts val="360"/>
                </a:spcBef>
              </a:pPr>
              <a:r>
                <a:rPr lang="en-AU" dirty="0" smtClean="0">
                  <a:solidFill>
                    <a:srgbClr val="000202"/>
                  </a:solidFill>
                </a:rPr>
                <a:t>Individual business units can determine cost/performance. There is infinite scale up/scale down capability. </a:t>
              </a:r>
            </a:p>
            <a:p>
              <a:pPr defTabSz="822960">
                <a:spcBef>
                  <a:spcPts val="360"/>
                </a:spcBef>
              </a:pPr>
              <a:r>
                <a:rPr lang="en-AU" dirty="0" smtClean="0">
                  <a:solidFill>
                    <a:srgbClr val="000202"/>
                  </a:solidFill>
                </a:rPr>
                <a:t>Move from Capex to Opex</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3" name="Group 2"/>
          <p:cNvGrpSpPr/>
          <p:nvPr/>
        </p:nvGrpSpPr>
        <p:grpSpPr>
          <a:xfrm>
            <a:off x="1310689" y="1890868"/>
            <a:ext cx="7037240" cy="754160"/>
            <a:chOff x="977604" y="1930706"/>
            <a:chExt cx="7819155" cy="837955"/>
          </a:xfrm>
        </p:grpSpPr>
        <p:sp>
          <p:nvSpPr>
            <p:cNvPr id="73" name="Shape 73"/>
            <p:cNvSpPr/>
            <p:nvPr/>
          </p:nvSpPr>
          <p:spPr>
            <a:xfrm>
              <a:off x="977604" y="2249242"/>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Agility</a:t>
              </a:r>
              <a:endParaRPr sz="1890" dirty="0"/>
            </a:p>
          </p:txBody>
        </p:sp>
        <p:sp>
          <p:nvSpPr>
            <p:cNvPr id="75" name="Shape 75"/>
            <p:cNvSpPr/>
            <p:nvPr/>
          </p:nvSpPr>
          <p:spPr>
            <a:xfrm>
              <a:off x="2841058" y="2050865"/>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sp>
          <p:nvSpPr>
            <p:cNvPr id="18" name="Shape 72"/>
            <p:cNvSpPr txBox="1">
              <a:spLocks/>
            </p:cNvSpPr>
            <p:nvPr/>
          </p:nvSpPr>
          <p:spPr>
            <a:xfrm>
              <a:off x="3136127" y="1930706"/>
              <a:ext cx="5660632" cy="8379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New business requirements can be satisfied in days rather than months. Time to value is improved</a:t>
              </a:r>
            </a:p>
          </p:txBody>
        </p:sp>
      </p:grpSp>
      <p:grpSp>
        <p:nvGrpSpPr>
          <p:cNvPr id="19" name="Group 18"/>
          <p:cNvGrpSpPr/>
          <p:nvPr/>
        </p:nvGrpSpPr>
        <p:grpSpPr>
          <a:xfrm>
            <a:off x="1310689" y="1212402"/>
            <a:ext cx="7037240" cy="754160"/>
            <a:chOff x="977604" y="1930706"/>
            <a:chExt cx="7819155" cy="837955"/>
          </a:xfrm>
        </p:grpSpPr>
        <p:sp>
          <p:nvSpPr>
            <p:cNvPr id="24" name="Shape 73"/>
            <p:cNvSpPr/>
            <p:nvPr/>
          </p:nvSpPr>
          <p:spPr>
            <a:xfrm>
              <a:off x="977604" y="2249242"/>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Completeness</a:t>
              </a:r>
              <a:endParaRPr sz="1890" dirty="0"/>
            </a:p>
          </p:txBody>
        </p:sp>
        <p:sp>
          <p:nvSpPr>
            <p:cNvPr id="25" name="Shape 75"/>
            <p:cNvSpPr/>
            <p:nvPr/>
          </p:nvSpPr>
          <p:spPr>
            <a:xfrm>
              <a:off x="2841058" y="2050865"/>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sp>
          <p:nvSpPr>
            <p:cNvPr id="26" name="Shape 72"/>
            <p:cNvSpPr txBox="1">
              <a:spLocks/>
            </p:cNvSpPr>
            <p:nvPr/>
          </p:nvSpPr>
          <p:spPr>
            <a:xfrm>
              <a:off x="3136127" y="1930706"/>
              <a:ext cx="5660632" cy="837955"/>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All data would be in the cloud.</a:t>
              </a:r>
            </a:p>
          </p:txBody>
        </p:sp>
      </p:grpSp>
    </p:spTree>
    <p:extLst>
      <p:ext uri="{BB962C8B-B14F-4D97-AF65-F5344CB8AC3E}">
        <p14:creationId xmlns:p14="http://schemas.microsoft.com/office/powerpoint/2010/main" val="298996017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pic>
        <p:nvPicPr>
          <p:cNvPr id="3" name="Picture 2"/>
          <p:cNvPicPr>
            <a:picLocks noChangeAspect="1"/>
          </p:cNvPicPr>
          <p:nvPr/>
        </p:nvPicPr>
        <p:blipFill>
          <a:blip r:embed="rId3"/>
          <a:stretch>
            <a:fillRect/>
          </a:stretch>
        </p:blipFill>
        <p:spPr>
          <a:xfrm>
            <a:off x="1226473" y="2665116"/>
            <a:ext cx="1234114" cy="754181"/>
          </a:xfrm>
          <a:prstGeom prst="rect">
            <a:avLst/>
          </a:prstGeom>
        </p:spPr>
      </p:pic>
      <p:pic>
        <p:nvPicPr>
          <p:cNvPr id="4" name="Picture 3"/>
          <p:cNvPicPr>
            <a:picLocks noChangeAspect="1"/>
          </p:cNvPicPr>
          <p:nvPr/>
        </p:nvPicPr>
        <p:blipFill>
          <a:blip r:embed="rId4"/>
          <a:stretch>
            <a:fillRect/>
          </a:stretch>
        </p:blipFill>
        <p:spPr>
          <a:xfrm>
            <a:off x="3566014" y="1522929"/>
            <a:ext cx="1170851" cy="580627"/>
          </a:xfrm>
          <a:prstGeom prst="rect">
            <a:avLst/>
          </a:prstGeom>
        </p:spPr>
      </p:pic>
      <p:pic>
        <p:nvPicPr>
          <p:cNvPr id="5" name="Picture 4"/>
          <p:cNvPicPr>
            <a:picLocks noChangeAspect="1"/>
          </p:cNvPicPr>
          <p:nvPr/>
        </p:nvPicPr>
        <p:blipFill>
          <a:blip r:embed="rId5"/>
          <a:stretch>
            <a:fillRect/>
          </a:stretch>
        </p:blipFill>
        <p:spPr>
          <a:xfrm>
            <a:off x="6019993" y="2292673"/>
            <a:ext cx="1347449" cy="476371"/>
          </a:xfrm>
          <a:prstGeom prst="rect">
            <a:avLst/>
          </a:prstGeom>
        </p:spPr>
      </p:pic>
      <p:pic>
        <p:nvPicPr>
          <p:cNvPr id="6" name="Picture 5"/>
          <p:cNvPicPr>
            <a:picLocks noChangeAspect="1"/>
          </p:cNvPicPr>
          <p:nvPr/>
        </p:nvPicPr>
        <p:blipFill>
          <a:blip r:embed="rId6"/>
          <a:stretch>
            <a:fillRect/>
          </a:stretch>
        </p:blipFill>
        <p:spPr>
          <a:xfrm>
            <a:off x="2939796" y="3967936"/>
            <a:ext cx="1857628" cy="743051"/>
          </a:xfrm>
          <a:prstGeom prst="rect">
            <a:avLst/>
          </a:prstGeom>
        </p:spPr>
      </p:pic>
      <p:pic>
        <p:nvPicPr>
          <p:cNvPr id="7" name="Picture 6"/>
          <p:cNvPicPr>
            <a:picLocks noChangeAspect="1"/>
          </p:cNvPicPr>
          <p:nvPr/>
        </p:nvPicPr>
        <p:blipFill>
          <a:blip r:embed="rId7"/>
          <a:stretch>
            <a:fillRect/>
          </a:stretch>
        </p:blipFill>
        <p:spPr>
          <a:xfrm>
            <a:off x="5748137" y="3304515"/>
            <a:ext cx="1440180" cy="1097280"/>
          </a:xfrm>
          <a:prstGeom prst="rect">
            <a:avLst/>
          </a:prstGeom>
        </p:spPr>
      </p:pic>
      <p:pic>
        <p:nvPicPr>
          <p:cNvPr id="9" name="Picture 8"/>
          <p:cNvPicPr>
            <a:picLocks noChangeAspect="1"/>
          </p:cNvPicPr>
          <p:nvPr/>
        </p:nvPicPr>
        <p:blipFill>
          <a:blip r:embed="rId8"/>
          <a:stretch>
            <a:fillRect/>
          </a:stretch>
        </p:blipFill>
        <p:spPr>
          <a:xfrm>
            <a:off x="3411302" y="2772215"/>
            <a:ext cx="1480276" cy="707958"/>
          </a:xfrm>
          <a:prstGeom prst="rect">
            <a:avLst/>
          </a:prstGeom>
        </p:spPr>
      </p:pic>
      <p:sp>
        <p:nvSpPr>
          <p:cNvPr id="11" name="Shape 72"/>
          <p:cNvSpPr txBox="1">
            <a:spLocks/>
          </p:cNvSpPr>
          <p:nvPr/>
        </p:nvSpPr>
        <p:spPr>
          <a:xfrm>
            <a:off x="2673495" y="921466"/>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fontScale="92500"/>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The decision process  RFP Issued to</a:t>
            </a:r>
          </a:p>
        </p:txBody>
      </p:sp>
    </p:spTree>
    <p:extLst>
      <p:ext uri="{BB962C8B-B14F-4D97-AF65-F5344CB8AC3E}">
        <p14:creationId xmlns:p14="http://schemas.microsoft.com/office/powerpoint/2010/main" val="10182292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28" name="Shape 72"/>
          <p:cNvSpPr txBox="1">
            <a:spLocks/>
          </p:cNvSpPr>
          <p:nvPr/>
        </p:nvSpPr>
        <p:spPr>
          <a:xfrm>
            <a:off x="2673495" y="992217"/>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IBM falls at the first hurdle</a:t>
            </a:r>
          </a:p>
        </p:txBody>
      </p:sp>
      <p:sp>
        <p:nvSpPr>
          <p:cNvPr id="5" name="Shape 72"/>
          <p:cNvSpPr txBox="1">
            <a:spLocks/>
          </p:cNvSpPr>
          <p:nvPr/>
        </p:nvSpPr>
        <p:spPr>
          <a:xfrm>
            <a:off x="1658684" y="4442254"/>
            <a:ext cx="5376119"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IBM’s enterprise Hadoop as a Service is not ‘as a service’</a:t>
            </a:r>
          </a:p>
        </p:txBody>
      </p:sp>
      <p:sp>
        <p:nvSpPr>
          <p:cNvPr id="2" name="Rectangle 1"/>
          <p:cNvSpPr/>
          <p:nvPr/>
        </p:nvSpPr>
        <p:spPr>
          <a:xfrm>
            <a:off x="1168614" y="1621436"/>
            <a:ext cx="6611751" cy="2862322"/>
          </a:xfrm>
          <a:prstGeom prst="rect">
            <a:avLst/>
          </a:prstGeom>
        </p:spPr>
        <p:txBody>
          <a:bodyPr wrap="square">
            <a:spAutoFit/>
          </a:bodyPr>
          <a:lstStyle/>
          <a:p>
            <a:r>
              <a:rPr lang="en-AU" dirty="0" smtClean="0">
                <a:solidFill>
                  <a:schemeClr val="accent1">
                    <a:lumMod val="75000"/>
                  </a:schemeClr>
                </a:solidFill>
              </a:rPr>
              <a:t>6.3       </a:t>
            </a:r>
            <a:r>
              <a:rPr lang="en-AU" dirty="0">
                <a:solidFill>
                  <a:schemeClr val="accent1">
                    <a:lumMod val="75000"/>
                  </a:schemeClr>
                </a:solidFill>
              </a:rPr>
              <a:t>Customer’s Obligation </a:t>
            </a:r>
            <a:endParaRPr lang="en-AU" dirty="0" smtClean="0">
              <a:solidFill>
                <a:schemeClr val="accent1">
                  <a:lumMod val="75000"/>
                </a:schemeClr>
              </a:solidFill>
            </a:endParaRPr>
          </a:p>
          <a:p>
            <a:endParaRPr lang="en-AU" dirty="0">
              <a:solidFill>
                <a:schemeClr val="accent1">
                  <a:lumMod val="75000"/>
                </a:schemeClr>
              </a:solidFill>
            </a:endParaRPr>
          </a:p>
          <a:p>
            <a:r>
              <a:rPr lang="en-AU" dirty="0">
                <a:solidFill>
                  <a:schemeClr val="accent1">
                    <a:lumMod val="75000"/>
                  </a:schemeClr>
                </a:solidFill>
              </a:rPr>
              <a:t>Customer is responsible for: </a:t>
            </a:r>
            <a:endParaRPr lang="en-AU" dirty="0" smtClean="0">
              <a:solidFill>
                <a:schemeClr val="accent1">
                  <a:lumMod val="75000"/>
                </a:schemeClr>
              </a:solidFill>
            </a:endParaRPr>
          </a:p>
          <a:p>
            <a:endParaRPr lang="en-AU" dirty="0">
              <a:solidFill>
                <a:schemeClr val="accent1">
                  <a:lumMod val="75000"/>
                </a:schemeClr>
              </a:solidFill>
            </a:endParaRPr>
          </a:p>
          <a:p>
            <a:pPr marL="308610" indent="-308610">
              <a:buAutoNum type="alphaLcPeriod" startAt="2"/>
            </a:pPr>
            <a:r>
              <a:rPr lang="en-AU" dirty="0" smtClean="0">
                <a:solidFill>
                  <a:schemeClr val="accent1">
                    <a:lumMod val="75000"/>
                  </a:schemeClr>
                </a:solidFill>
              </a:rPr>
              <a:t>maintaining </a:t>
            </a:r>
            <a:r>
              <a:rPr lang="en-AU" dirty="0">
                <a:solidFill>
                  <a:schemeClr val="accent1">
                    <a:lumMod val="75000"/>
                  </a:schemeClr>
                </a:solidFill>
              </a:rPr>
              <a:t>the software platform (i.e. </a:t>
            </a:r>
            <a:r>
              <a:rPr lang="en-AU" dirty="0" smtClean="0">
                <a:solidFill>
                  <a:schemeClr val="accent1">
                    <a:lumMod val="75000"/>
                  </a:schemeClr>
                </a:solidFill>
              </a:rPr>
              <a:t>BigInsights </a:t>
            </a:r>
            <a:r>
              <a:rPr lang="en-AU" dirty="0">
                <a:solidFill>
                  <a:schemeClr val="accent1">
                    <a:lumMod val="75000"/>
                  </a:schemeClr>
                </a:solidFill>
              </a:rPr>
              <a:t>and the operating system) to its security </a:t>
            </a:r>
            <a:r>
              <a:rPr lang="en-AU" dirty="0" smtClean="0">
                <a:solidFill>
                  <a:schemeClr val="accent1">
                    <a:lumMod val="75000"/>
                  </a:schemeClr>
                </a:solidFill>
              </a:rPr>
              <a:t>standards</a:t>
            </a:r>
            <a:r>
              <a:rPr lang="en-AU" dirty="0">
                <a:solidFill>
                  <a:schemeClr val="accent1">
                    <a:lumMod val="75000"/>
                  </a:schemeClr>
                </a:solidFill>
              </a:rPr>
              <a:t>. </a:t>
            </a:r>
            <a:endParaRPr lang="en-AU" dirty="0" smtClean="0">
              <a:solidFill>
                <a:schemeClr val="accent1">
                  <a:lumMod val="75000"/>
                </a:schemeClr>
              </a:solidFill>
            </a:endParaRPr>
          </a:p>
          <a:p>
            <a:pPr marL="308610" indent="-308610">
              <a:buAutoNum type="alphaLcPeriod" startAt="2"/>
            </a:pPr>
            <a:endParaRPr lang="en-AU" dirty="0">
              <a:solidFill>
                <a:schemeClr val="accent1">
                  <a:lumMod val="75000"/>
                </a:schemeClr>
              </a:solidFill>
            </a:endParaRPr>
          </a:p>
          <a:p>
            <a:r>
              <a:rPr lang="en-AU" dirty="0">
                <a:solidFill>
                  <a:schemeClr val="accent1">
                    <a:lumMod val="75000"/>
                  </a:schemeClr>
                </a:solidFill>
              </a:rPr>
              <a:t>c.      maintaining the software firewall on internet </a:t>
            </a:r>
            <a:r>
              <a:rPr lang="en-AU" dirty="0" smtClean="0">
                <a:solidFill>
                  <a:schemeClr val="accent1">
                    <a:lumMod val="75000"/>
                  </a:schemeClr>
                </a:solidFill>
              </a:rPr>
              <a:t>facing </a:t>
            </a:r>
            <a:r>
              <a:rPr lang="en-AU" dirty="0">
                <a:solidFill>
                  <a:schemeClr val="accent1">
                    <a:lumMod val="75000"/>
                  </a:schemeClr>
                </a:solidFill>
              </a:rPr>
              <a:t>servers in a manner that will provide the </a:t>
            </a:r>
            <a:r>
              <a:rPr lang="en-AU" dirty="0" smtClean="0">
                <a:solidFill>
                  <a:schemeClr val="accent1">
                    <a:lumMod val="75000"/>
                  </a:schemeClr>
                </a:solidFill>
              </a:rPr>
              <a:t>required protection </a:t>
            </a:r>
            <a:r>
              <a:rPr lang="en-AU" dirty="0">
                <a:solidFill>
                  <a:schemeClr val="accent1">
                    <a:lumMod val="75000"/>
                  </a:schemeClr>
                </a:solidFill>
              </a:rPr>
              <a:t>it chooses. </a:t>
            </a:r>
          </a:p>
        </p:txBody>
      </p:sp>
    </p:spTree>
    <p:extLst>
      <p:ext uri="{BB962C8B-B14F-4D97-AF65-F5344CB8AC3E}">
        <p14:creationId xmlns:p14="http://schemas.microsoft.com/office/powerpoint/2010/main" val="124881371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26"/>
          <p:cNvSpPr/>
          <p:nvPr/>
        </p:nvSpPr>
        <p:spPr>
          <a:xfrm>
            <a:off x="279946" y="1527061"/>
            <a:ext cx="4474409"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lvl="0">
              <a:defRPr sz="1800" spc="0">
                <a:solidFill>
                  <a:srgbClr val="000000"/>
                </a:solidFill>
              </a:defRPr>
            </a:pPr>
            <a:r>
              <a:rPr lang="en-US" sz="2400" spc="44" dirty="0" smtClean="0">
                <a:solidFill>
                  <a:srgbClr val="CEE8F9"/>
                </a:solidFill>
              </a:rPr>
              <a:t>IBM Cloud Data Services</a:t>
            </a:r>
            <a:endParaRPr sz="2400" spc="44" dirty="0">
              <a:solidFill>
                <a:srgbClr val="CEE8F9"/>
              </a:solidFill>
            </a:endParaRPr>
          </a:p>
        </p:txBody>
      </p:sp>
      <p:sp>
        <p:nvSpPr>
          <p:cNvPr id="6" name="Shape 26"/>
          <p:cNvSpPr/>
          <p:nvPr/>
        </p:nvSpPr>
        <p:spPr>
          <a:xfrm>
            <a:off x="279948" y="4096051"/>
            <a:ext cx="6110043" cy="64633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lvl="0">
              <a:defRPr sz="1800" spc="0">
                <a:solidFill>
                  <a:srgbClr val="000000"/>
                </a:solidFill>
              </a:defRPr>
            </a:pPr>
            <a:r>
              <a:rPr lang="en-US" sz="1400" b="1" spc="44" dirty="0" smtClean="0">
                <a:solidFill>
                  <a:srgbClr val="D6EFFB"/>
                </a:solidFill>
              </a:rPr>
              <a:t>David Sloan</a:t>
            </a:r>
          </a:p>
          <a:p>
            <a:pPr lvl="0">
              <a:defRPr sz="1800" spc="0">
                <a:solidFill>
                  <a:srgbClr val="000000"/>
                </a:solidFill>
              </a:defRPr>
            </a:pPr>
            <a:r>
              <a:rPr lang="en-US" sz="1400" spc="44" dirty="0" smtClean="0">
                <a:solidFill>
                  <a:srgbClr val="D6EFFB"/>
                </a:solidFill>
              </a:rPr>
              <a:t>Cloud Data Services</a:t>
            </a:r>
          </a:p>
          <a:p>
            <a:pPr lvl="0">
              <a:defRPr sz="1800" spc="0">
                <a:solidFill>
                  <a:srgbClr val="000000"/>
                </a:solidFill>
              </a:defRPr>
            </a:pPr>
            <a:r>
              <a:rPr lang="en-US" sz="1400" dirty="0" smtClean="0">
                <a:solidFill>
                  <a:srgbClr val="D6EFFB"/>
                </a:solidFill>
              </a:rPr>
              <a:t>IBM Analytics</a:t>
            </a:r>
            <a:endParaRPr sz="1400" spc="44" dirty="0">
              <a:solidFill>
                <a:srgbClr val="D6EFFB"/>
              </a:solidFill>
            </a:endParaRPr>
          </a:p>
        </p:txBody>
      </p:sp>
    </p:spTree>
    <p:extLst>
      <p:ext uri="{BB962C8B-B14F-4D97-AF65-F5344CB8AC3E}">
        <p14:creationId xmlns:p14="http://schemas.microsoft.com/office/powerpoint/2010/main" val="1366265288"/>
      </p:ext>
    </p:extLst>
  </p:cSld>
  <p:clrMapOvr>
    <a:masterClrMapping/>
  </p:clrMapOvr>
  <p:transition spd="med"/>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3" name="Rectangle 2"/>
          <p:cNvSpPr/>
          <p:nvPr/>
        </p:nvSpPr>
        <p:spPr>
          <a:xfrm>
            <a:off x="1308886" y="802462"/>
            <a:ext cx="6474299" cy="2862322"/>
          </a:xfrm>
          <a:prstGeom prst="rect">
            <a:avLst/>
          </a:prstGeom>
        </p:spPr>
        <p:txBody>
          <a:bodyPr wrap="square">
            <a:spAutoFit/>
          </a:bodyPr>
          <a:lstStyle/>
          <a:p>
            <a:endParaRPr lang="en-AU" dirty="0"/>
          </a:p>
          <a:p>
            <a:endParaRPr lang="en-AU" dirty="0"/>
          </a:p>
          <a:p>
            <a:r>
              <a:rPr lang="en-AU" dirty="0" smtClean="0"/>
              <a:t>“</a:t>
            </a:r>
            <a:r>
              <a:rPr lang="en-AU" dirty="0"/>
              <a:t>In short, the first duty of every man or woman in any executive position is to follow the motto of this business: THINK.”</a:t>
            </a:r>
          </a:p>
          <a:p>
            <a:endParaRPr lang="en-AU" dirty="0"/>
          </a:p>
          <a:p>
            <a:r>
              <a:rPr lang="en-AU" dirty="0"/>
              <a:t>Thomas J. Watson </a:t>
            </a:r>
            <a:r>
              <a:rPr lang="en-AU" dirty="0" smtClean="0"/>
              <a:t>Sr. IBM </a:t>
            </a:r>
            <a:r>
              <a:rPr lang="en-AU" dirty="0"/>
              <a:t>founder</a:t>
            </a:r>
          </a:p>
          <a:p>
            <a:endParaRPr lang="en-AU" dirty="0"/>
          </a:p>
          <a:p>
            <a:r>
              <a:rPr lang="en-AU" dirty="0"/>
              <a:t>Memo from Thomas Watson Sr. to his management </a:t>
            </a:r>
            <a:r>
              <a:rPr lang="en-AU" dirty="0" smtClean="0"/>
              <a:t>team 1920</a:t>
            </a:r>
            <a:endParaRPr lang="en-AU" dirty="0"/>
          </a:p>
        </p:txBody>
      </p:sp>
      <p:pic>
        <p:nvPicPr>
          <p:cNvPr id="4" name="Picture 3"/>
          <p:cNvPicPr>
            <a:picLocks noChangeAspect="1"/>
          </p:cNvPicPr>
          <p:nvPr/>
        </p:nvPicPr>
        <p:blipFill>
          <a:blip r:embed="rId3"/>
          <a:stretch>
            <a:fillRect/>
          </a:stretch>
        </p:blipFill>
        <p:spPr>
          <a:xfrm>
            <a:off x="2985498" y="3523403"/>
            <a:ext cx="2886097" cy="1289416"/>
          </a:xfrm>
          <a:prstGeom prst="rect">
            <a:avLst/>
          </a:prstGeom>
        </p:spPr>
      </p:pic>
    </p:spTree>
    <p:extLst>
      <p:ext uri="{BB962C8B-B14F-4D97-AF65-F5344CB8AC3E}">
        <p14:creationId xmlns:p14="http://schemas.microsoft.com/office/powerpoint/2010/main" val="62424661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6483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5" name="Shape 72"/>
          <p:cNvSpPr txBox="1">
            <a:spLocks/>
          </p:cNvSpPr>
          <p:nvPr/>
        </p:nvSpPr>
        <p:spPr>
          <a:xfrm>
            <a:off x="841802" y="2041360"/>
            <a:ext cx="7553318" cy="146171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No vendor can deliver what the customer needs. This is building a mission critical data platform, using customer data, as a service, in the cloud, for a bank, in months, not years.</a:t>
            </a:r>
          </a:p>
          <a:p>
            <a:pPr>
              <a:defRPr sz="1800" b="0">
                <a:solidFill>
                  <a:srgbClr val="000000"/>
                </a:solidFill>
              </a:defRPr>
            </a:pPr>
            <a:endParaRPr lang="en-AU" sz="1620" dirty="0"/>
          </a:p>
        </p:txBody>
      </p:sp>
      <p:grpSp>
        <p:nvGrpSpPr>
          <p:cNvPr id="4" name="Group 3"/>
          <p:cNvGrpSpPr/>
          <p:nvPr/>
        </p:nvGrpSpPr>
        <p:grpSpPr>
          <a:xfrm>
            <a:off x="804531" y="3475274"/>
            <a:ext cx="7651454" cy="971070"/>
            <a:chOff x="1268635" y="3861414"/>
            <a:chExt cx="8501615" cy="1078966"/>
          </a:xfrm>
        </p:grpSpPr>
        <p:sp>
          <p:nvSpPr>
            <p:cNvPr id="28" name="Shape 72"/>
            <p:cNvSpPr txBox="1">
              <a:spLocks/>
            </p:cNvSpPr>
            <p:nvPr/>
          </p:nvSpPr>
          <p:spPr>
            <a:xfrm>
              <a:off x="3455969" y="3861414"/>
              <a:ext cx="3718331" cy="4616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IBM decided to change our thinking</a:t>
              </a:r>
            </a:p>
          </p:txBody>
        </p:sp>
        <p:sp>
          <p:nvSpPr>
            <p:cNvPr id="2" name="Rectangle 1"/>
            <p:cNvSpPr/>
            <p:nvPr/>
          </p:nvSpPr>
          <p:spPr>
            <a:xfrm>
              <a:off x="1268635" y="4345346"/>
              <a:ext cx="8501615" cy="595034"/>
            </a:xfrm>
            <a:prstGeom prst="rect">
              <a:avLst/>
            </a:prstGeom>
          </p:spPr>
          <p:txBody>
            <a:bodyPr wrap="none">
              <a:spAutoFit/>
            </a:bodyPr>
            <a:lstStyle/>
            <a:p>
              <a:pPr>
                <a:defRPr sz="1800" b="0">
                  <a:solidFill>
                    <a:srgbClr val="000000"/>
                  </a:solidFill>
                </a:defRPr>
              </a:pPr>
              <a:r>
                <a:rPr lang="en-AU" sz="2880" dirty="0">
                  <a:solidFill>
                    <a:srgbClr val="FF0000"/>
                  </a:solidFill>
                </a:rPr>
                <a:t>IBM is taking a bank to the cloud as a Service</a:t>
              </a:r>
            </a:p>
          </p:txBody>
        </p:sp>
      </p:grpSp>
      <p:pic>
        <p:nvPicPr>
          <p:cNvPr id="3" name="Picture 2"/>
          <p:cNvPicPr>
            <a:picLocks noChangeAspect="1"/>
          </p:cNvPicPr>
          <p:nvPr/>
        </p:nvPicPr>
        <p:blipFill>
          <a:blip r:embed="rId3"/>
          <a:stretch>
            <a:fillRect/>
          </a:stretch>
        </p:blipFill>
        <p:spPr>
          <a:xfrm>
            <a:off x="2902276" y="863893"/>
            <a:ext cx="2888933" cy="1285875"/>
          </a:xfrm>
          <a:prstGeom prst="rect">
            <a:avLst/>
          </a:prstGeom>
        </p:spPr>
      </p:pic>
      <p:sp>
        <p:nvSpPr>
          <p:cNvPr id="9" name="Shape 72"/>
          <p:cNvSpPr txBox="1">
            <a:spLocks/>
          </p:cNvSpPr>
          <p:nvPr/>
        </p:nvSpPr>
        <p:spPr>
          <a:xfrm>
            <a:off x="3646900" y="4444149"/>
            <a:ext cx="1615980"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What is a bank?</a:t>
            </a:r>
          </a:p>
        </p:txBody>
      </p:sp>
    </p:spTree>
    <p:extLst>
      <p:ext uri="{BB962C8B-B14F-4D97-AF65-F5344CB8AC3E}">
        <p14:creationId xmlns:p14="http://schemas.microsoft.com/office/powerpoint/2010/main" val="6898978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grpSp>
        <p:nvGrpSpPr>
          <p:cNvPr id="2" name="Group 1"/>
          <p:cNvGrpSpPr/>
          <p:nvPr/>
        </p:nvGrpSpPr>
        <p:grpSpPr>
          <a:xfrm>
            <a:off x="1093149" y="1145891"/>
            <a:ext cx="7830736" cy="1172694"/>
            <a:chOff x="762907" y="1581650"/>
            <a:chExt cx="8142195" cy="1302994"/>
          </a:xfrm>
        </p:grpSpPr>
        <p:sp>
          <p:nvSpPr>
            <p:cNvPr id="73" name="Shape 73"/>
            <p:cNvSpPr/>
            <p:nvPr/>
          </p:nvSpPr>
          <p:spPr>
            <a:xfrm>
              <a:off x="762907" y="1780027"/>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Security had to approve</a:t>
              </a:r>
              <a:endParaRPr sz="1890" dirty="0"/>
            </a:p>
          </p:txBody>
        </p:sp>
        <p:sp>
          <p:nvSpPr>
            <p:cNvPr id="74" name="Shape 74"/>
            <p:cNvSpPr/>
            <p:nvPr/>
          </p:nvSpPr>
          <p:spPr>
            <a:xfrm>
              <a:off x="2921430" y="1733901"/>
              <a:ext cx="5983672" cy="115074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If the Security, risk and Compliance teams did not support putting customer data into the cloud, the cloud would fail</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7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grpSp>
        <p:nvGrpSpPr>
          <p:cNvPr id="21" name="Group 20"/>
          <p:cNvGrpSpPr/>
          <p:nvPr/>
        </p:nvGrpSpPr>
        <p:grpSpPr>
          <a:xfrm>
            <a:off x="1242258" y="2810984"/>
            <a:ext cx="7327976" cy="1113796"/>
            <a:chOff x="762907" y="1581650"/>
            <a:chExt cx="8142195" cy="1237550"/>
          </a:xfrm>
        </p:grpSpPr>
        <p:sp>
          <p:nvSpPr>
            <p:cNvPr id="22" name="Shape 73"/>
            <p:cNvSpPr/>
            <p:nvPr/>
          </p:nvSpPr>
          <p:spPr>
            <a:xfrm>
              <a:off x="762907" y="1608298"/>
              <a:ext cx="2043111" cy="55399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It was a critical system</a:t>
              </a:r>
              <a:endParaRPr sz="1890" dirty="0"/>
            </a:p>
          </p:txBody>
        </p:sp>
        <p:sp>
          <p:nvSpPr>
            <p:cNvPr id="23" name="Shape 74"/>
            <p:cNvSpPr/>
            <p:nvPr/>
          </p:nvSpPr>
          <p:spPr>
            <a:xfrm>
              <a:off x="2921430" y="1668458"/>
              <a:ext cx="5983672" cy="11507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system had to have Disaster Recovery capabilities built in a standard (not just High Availability/Back up)</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1218013" y="2157227"/>
            <a:ext cx="7334464" cy="611035"/>
            <a:chOff x="755698" y="1581650"/>
            <a:chExt cx="8149404" cy="678928"/>
          </a:xfrm>
        </p:grpSpPr>
        <p:sp>
          <p:nvSpPr>
            <p:cNvPr id="30" name="Shape 73"/>
            <p:cNvSpPr/>
            <p:nvPr/>
          </p:nvSpPr>
          <p:spPr>
            <a:xfrm>
              <a:off x="755698" y="1659767"/>
              <a:ext cx="2043111" cy="246221"/>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440" dirty="0"/>
                <a:t>APRA </a:t>
              </a:r>
              <a:endParaRPr sz="1440" dirty="0"/>
            </a:p>
          </p:txBody>
        </p:sp>
        <p:sp>
          <p:nvSpPr>
            <p:cNvPr id="31" name="Shape 74"/>
            <p:cNvSpPr/>
            <p:nvPr/>
          </p:nvSpPr>
          <p:spPr>
            <a:xfrm>
              <a:off x="2921430" y="1668458"/>
              <a:ext cx="5983672" cy="53518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regulatory requirements needed to be met</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18" name="Shape 72"/>
          <p:cNvSpPr txBox="1">
            <a:spLocks/>
          </p:cNvSpPr>
          <p:nvPr/>
        </p:nvSpPr>
        <p:spPr>
          <a:xfrm>
            <a:off x="2810655" y="704765"/>
            <a:ext cx="3615609"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What were the design metrics  FOAC</a:t>
            </a:r>
          </a:p>
        </p:txBody>
      </p:sp>
      <p:grpSp>
        <p:nvGrpSpPr>
          <p:cNvPr id="19" name="Group 18"/>
          <p:cNvGrpSpPr/>
          <p:nvPr/>
        </p:nvGrpSpPr>
        <p:grpSpPr>
          <a:xfrm>
            <a:off x="1093861" y="3747877"/>
            <a:ext cx="7467886" cy="830997"/>
            <a:chOff x="607451" y="1441328"/>
            <a:chExt cx="8297651" cy="923330"/>
          </a:xfrm>
        </p:grpSpPr>
        <p:sp>
          <p:nvSpPr>
            <p:cNvPr id="20" name="Shape 73"/>
            <p:cNvSpPr/>
            <p:nvPr/>
          </p:nvSpPr>
          <p:spPr>
            <a:xfrm>
              <a:off x="607451" y="1629119"/>
              <a:ext cx="2043111" cy="492442"/>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440" dirty="0"/>
                <a:t>Leverage current skills and tools</a:t>
              </a:r>
              <a:endParaRPr sz="1440" dirty="0"/>
            </a:p>
          </p:txBody>
        </p:sp>
        <p:sp>
          <p:nvSpPr>
            <p:cNvPr id="24" name="Shape 74"/>
            <p:cNvSpPr/>
            <p:nvPr/>
          </p:nvSpPr>
          <p:spPr>
            <a:xfrm>
              <a:off x="2921430" y="1441328"/>
              <a:ext cx="5983672" cy="923330"/>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The bank has large investments in traditional technologies, particularly Information Server. These tools needed to be available on the cloud. </a:t>
              </a:r>
              <a:endParaRPr sz="1080" b="1" dirty="0">
                <a:solidFill>
                  <a:srgbClr val="000202"/>
                </a:solidFill>
              </a:endParaRPr>
            </a:p>
          </p:txBody>
        </p:sp>
        <p:sp>
          <p:nvSpPr>
            <p:cNvPr id="2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26" name="Shape 72"/>
          <p:cNvSpPr txBox="1">
            <a:spLocks/>
          </p:cNvSpPr>
          <p:nvPr/>
        </p:nvSpPr>
        <p:spPr>
          <a:xfrm>
            <a:off x="2725847" y="4606556"/>
            <a:ext cx="3615609"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If it goes wrong you are </a:t>
            </a:r>
            <a:r>
              <a:rPr lang="en-AU" sz="1620" dirty="0" err="1"/>
              <a:t>FOACed</a:t>
            </a:r>
            <a:r>
              <a:rPr lang="en-AU" sz="1620" dirty="0"/>
              <a:t> !!!</a:t>
            </a:r>
          </a:p>
        </p:txBody>
      </p:sp>
    </p:spTree>
    <p:extLst>
      <p:ext uri="{BB962C8B-B14F-4D97-AF65-F5344CB8AC3E}">
        <p14:creationId xmlns:p14="http://schemas.microsoft.com/office/powerpoint/2010/main" val="279605036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2" name="Rectangle 1"/>
          <p:cNvSpPr/>
          <p:nvPr/>
        </p:nvSpPr>
        <p:spPr>
          <a:xfrm>
            <a:off x="2514600" y="1075005"/>
            <a:ext cx="4114800" cy="3416320"/>
          </a:xfrm>
          <a:prstGeom prst="rect">
            <a:avLst/>
          </a:prstGeom>
        </p:spPr>
        <p:txBody>
          <a:bodyPr>
            <a:spAutoFit/>
          </a:bodyPr>
          <a:lstStyle/>
          <a:p>
            <a:r>
              <a:rPr lang="en-US" altLang="en-US" dirty="0">
                <a:solidFill>
                  <a:schemeClr val="tx1"/>
                </a:solidFill>
              </a:rPr>
              <a:t>IBM </a:t>
            </a:r>
            <a:r>
              <a:rPr lang="en-US" altLang="en-US" dirty="0" err="1">
                <a:solidFill>
                  <a:schemeClr val="tx1"/>
                </a:solidFill>
              </a:rPr>
              <a:t>eHaaS</a:t>
            </a:r>
            <a:endParaRPr lang="en-US" altLang="en-US" dirty="0">
              <a:solidFill>
                <a:schemeClr val="tx1"/>
              </a:solidFill>
            </a:endParaRPr>
          </a:p>
          <a:p>
            <a:r>
              <a:rPr lang="en-US" altLang="en-US" dirty="0">
                <a:solidFill>
                  <a:schemeClr val="tx1"/>
                </a:solidFill>
              </a:rPr>
              <a:t>IBM Guardium Encryption</a:t>
            </a:r>
          </a:p>
          <a:p>
            <a:r>
              <a:rPr lang="en-US" altLang="en-US" dirty="0">
                <a:solidFill>
                  <a:schemeClr val="tx1"/>
                </a:solidFill>
              </a:rPr>
              <a:t>IBM Guardium Data Access management</a:t>
            </a:r>
          </a:p>
          <a:p>
            <a:r>
              <a:rPr lang="en-US" altLang="en-US" dirty="0">
                <a:solidFill>
                  <a:schemeClr val="tx1"/>
                </a:solidFill>
              </a:rPr>
              <a:t>IBM Softlayer </a:t>
            </a:r>
          </a:p>
          <a:p>
            <a:r>
              <a:rPr lang="en-US" altLang="en-US" dirty="0">
                <a:solidFill>
                  <a:schemeClr val="tx1"/>
                </a:solidFill>
              </a:rPr>
              <a:t>IBM </a:t>
            </a:r>
            <a:r>
              <a:rPr lang="en-US" altLang="en-US" dirty="0" smtClean="0">
                <a:solidFill>
                  <a:schemeClr val="tx1"/>
                </a:solidFill>
              </a:rPr>
              <a:t>Datastage</a:t>
            </a:r>
          </a:p>
          <a:p>
            <a:r>
              <a:rPr lang="en-US" altLang="en-US" dirty="0" smtClean="0">
                <a:solidFill>
                  <a:schemeClr val="tx1"/>
                </a:solidFill>
              </a:rPr>
              <a:t>IBM R &amp; D</a:t>
            </a:r>
          </a:p>
          <a:p>
            <a:r>
              <a:rPr lang="en-US" altLang="en-US" dirty="0" smtClean="0">
                <a:solidFill>
                  <a:schemeClr val="tx1"/>
                </a:solidFill>
              </a:rPr>
              <a:t>IBM Labs</a:t>
            </a:r>
          </a:p>
          <a:p>
            <a:r>
              <a:rPr lang="en-US" altLang="en-US" dirty="0" smtClean="0">
                <a:solidFill>
                  <a:schemeClr val="tx1"/>
                </a:solidFill>
              </a:rPr>
              <a:t>IBM Eminent Fellows</a:t>
            </a:r>
          </a:p>
          <a:p>
            <a:r>
              <a:rPr lang="en-US" altLang="en-US" dirty="0" smtClean="0">
                <a:solidFill>
                  <a:schemeClr val="tx1"/>
                </a:solidFill>
              </a:rPr>
              <a:t>IBM US Specialists</a:t>
            </a:r>
            <a:endParaRPr lang="en-US" altLang="en-US" dirty="0">
              <a:solidFill>
                <a:schemeClr val="tx1"/>
              </a:solidFill>
            </a:endParaRPr>
          </a:p>
          <a:p>
            <a:r>
              <a:rPr lang="en-US" altLang="en-US" dirty="0" smtClean="0">
                <a:solidFill>
                  <a:schemeClr val="tx1"/>
                </a:solidFill>
              </a:rPr>
              <a:t>IBM </a:t>
            </a:r>
            <a:r>
              <a:rPr lang="en-US" altLang="en-US" dirty="0">
                <a:solidFill>
                  <a:schemeClr val="tx1"/>
                </a:solidFill>
              </a:rPr>
              <a:t>SWG Services</a:t>
            </a:r>
          </a:p>
          <a:p>
            <a:r>
              <a:rPr lang="en-US" altLang="en-US" dirty="0">
                <a:solidFill>
                  <a:schemeClr val="tx1"/>
                </a:solidFill>
              </a:rPr>
              <a:t>IBM Project Stampede</a:t>
            </a:r>
          </a:p>
        </p:txBody>
      </p:sp>
      <p:sp>
        <p:nvSpPr>
          <p:cNvPr id="5" name="Shape 72"/>
          <p:cNvSpPr txBox="1">
            <a:spLocks/>
          </p:cNvSpPr>
          <p:nvPr/>
        </p:nvSpPr>
        <p:spPr>
          <a:xfrm>
            <a:off x="1066190" y="4525676"/>
            <a:ext cx="7011620" cy="3632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This is customer driven product design’  Kevin McIntyre CDS Executive</a:t>
            </a:r>
          </a:p>
          <a:p>
            <a:pPr>
              <a:defRPr sz="1800" b="0">
                <a:solidFill>
                  <a:srgbClr val="000000"/>
                </a:solidFill>
              </a:defRPr>
            </a:pPr>
            <a:endParaRPr lang="en-AU" sz="1620" dirty="0"/>
          </a:p>
        </p:txBody>
      </p:sp>
    </p:spTree>
    <p:extLst>
      <p:ext uri="{BB962C8B-B14F-4D97-AF65-F5344CB8AC3E}">
        <p14:creationId xmlns:p14="http://schemas.microsoft.com/office/powerpoint/2010/main" val="163845631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5"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r>
              <a:rPr lang="en-AU" sz="2160" dirty="0"/>
              <a:t> (APRA)</a:t>
            </a:r>
            <a:endParaRPr sz="2160" dirty="0"/>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8" name="Shape 72"/>
          <p:cNvSpPr txBox="1">
            <a:spLocks/>
          </p:cNvSpPr>
          <p:nvPr/>
        </p:nvSpPr>
        <p:spPr>
          <a:xfrm>
            <a:off x="2673495" y="992217"/>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endParaRPr lang="en-AU" sz="1620" dirty="0"/>
          </a:p>
        </p:txBody>
      </p:sp>
      <p:grpSp>
        <p:nvGrpSpPr>
          <p:cNvPr id="5" name="Group 4"/>
          <p:cNvGrpSpPr/>
          <p:nvPr/>
        </p:nvGrpSpPr>
        <p:grpSpPr>
          <a:xfrm>
            <a:off x="1585913" y="907257"/>
            <a:ext cx="5522119" cy="3529013"/>
            <a:chOff x="1254125" y="1008063"/>
            <a:chExt cx="6135688" cy="3921125"/>
          </a:xfrm>
        </p:grpSpPr>
        <p:pic>
          <p:nvPicPr>
            <p:cNvPr id="6"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3516" y="2500661"/>
              <a:ext cx="90090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Oval 6"/>
            <p:cNvSpPr/>
            <p:nvPr/>
          </p:nvSpPr>
          <p:spPr>
            <a:xfrm>
              <a:off x="3226594" y="1912938"/>
              <a:ext cx="2190750" cy="198437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pic>
          <p:nvPicPr>
            <p:cNvPr id="8" name="Picture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69864" y="2555249"/>
              <a:ext cx="583407"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ounded Rectangle 8"/>
            <p:cNvSpPr/>
            <p:nvPr/>
          </p:nvSpPr>
          <p:spPr>
            <a:xfrm>
              <a:off x="1254125" y="1008063"/>
              <a:ext cx="6135688" cy="392112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sp>
          <p:nvSpPr>
            <p:cNvPr id="10" name="TextBox 6"/>
            <p:cNvSpPr txBox="1">
              <a:spLocks noChangeArrowheads="1"/>
            </p:cNvSpPr>
            <p:nvPr/>
          </p:nvSpPr>
          <p:spPr bwMode="auto">
            <a:xfrm>
              <a:off x="3867255" y="2070560"/>
              <a:ext cx="883790" cy="62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Data Lake</a:t>
              </a:r>
            </a:p>
            <a:p>
              <a:pPr algn="ctr"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as a Service</a:t>
              </a:r>
            </a:p>
            <a:p>
              <a:pPr algn="ctr" defTabSz="514329" rtl="0" fontAlgn="base">
                <a:lnSpc>
                  <a:spcPct val="100000"/>
                </a:lnSpc>
                <a:spcBef>
                  <a:spcPct val="0"/>
                </a:spcBef>
                <a:spcAft>
                  <a:spcPct val="0"/>
                </a:spcAft>
                <a:buNone/>
                <a:defRPr/>
              </a:pPr>
              <a:endParaRPr lang="en-AU" altLang="en-US" sz="1013" kern="1200" dirty="0">
                <a:solidFill>
                  <a:prstClr val="black"/>
                </a:solidFill>
                <a:ea typeface="MS PGothic" panose="020B0600070205080204" pitchFamily="34" charset="-128"/>
              </a:endParaRPr>
            </a:p>
          </p:txBody>
        </p:sp>
        <p:sp>
          <p:nvSpPr>
            <p:cNvPr id="12" name="TextBox 19"/>
            <p:cNvSpPr txBox="1">
              <a:spLocks noChangeArrowheads="1"/>
            </p:cNvSpPr>
            <p:nvPr/>
          </p:nvSpPr>
          <p:spPr bwMode="auto">
            <a:xfrm>
              <a:off x="1454887" y="1298704"/>
              <a:ext cx="1910423" cy="3180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pic>
          <p:nvPicPr>
            <p:cNvPr id="16" name="Pictur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859610" y="3112823"/>
              <a:ext cx="879739" cy="477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p:cNvPicPr>
              <a:picLocks noChangeAspect="1"/>
            </p:cNvPicPr>
            <p:nvPr/>
          </p:nvPicPr>
          <p:blipFill>
            <a:blip r:embed="rId5"/>
            <a:stretch>
              <a:fillRect/>
            </a:stretch>
          </p:blipFill>
          <p:spPr>
            <a:xfrm>
              <a:off x="2133672" y="3743866"/>
              <a:ext cx="878916" cy="477562"/>
            </a:xfrm>
            <a:prstGeom prst="rect">
              <a:avLst/>
            </a:prstGeom>
          </p:spPr>
        </p:pic>
      </p:grpSp>
      <p:sp>
        <p:nvSpPr>
          <p:cNvPr id="18" name="TextBox 19"/>
          <p:cNvSpPr txBox="1">
            <a:spLocks noChangeArrowheads="1"/>
          </p:cNvSpPr>
          <p:nvPr/>
        </p:nvSpPr>
        <p:spPr bwMode="auto">
          <a:xfrm>
            <a:off x="5041130" y="3892153"/>
            <a:ext cx="171938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sp>
        <p:nvSpPr>
          <p:cNvPr id="19" name="TextBox 19"/>
          <p:cNvSpPr txBox="1">
            <a:spLocks noChangeArrowheads="1"/>
          </p:cNvSpPr>
          <p:nvPr/>
        </p:nvSpPr>
        <p:spPr bwMode="auto">
          <a:xfrm>
            <a:off x="5285396" y="1179093"/>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
        <p:nvSpPr>
          <p:cNvPr id="21" name="TextBox 19"/>
          <p:cNvSpPr txBox="1">
            <a:spLocks noChangeArrowheads="1"/>
          </p:cNvSpPr>
          <p:nvPr/>
        </p:nvSpPr>
        <p:spPr bwMode="auto">
          <a:xfrm>
            <a:off x="1944033" y="3930819"/>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Tree>
    <p:extLst>
      <p:ext uri="{BB962C8B-B14F-4D97-AF65-F5344CB8AC3E}">
        <p14:creationId xmlns:p14="http://schemas.microsoft.com/office/powerpoint/2010/main" val="311796195"/>
      </p:ext>
    </p:extLst>
  </p:cSld>
  <p:clrMapOvr>
    <a:masterClrMapping/>
  </p:clrMapOvr>
  <p:transition spd="med"/>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grpSp>
        <p:nvGrpSpPr>
          <p:cNvPr id="2" name="Group 1"/>
          <p:cNvGrpSpPr/>
          <p:nvPr/>
        </p:nvGrpSpPr>
        <p:grpSpPr>
          <a:xfrm>
            <a:off x="1324978" y="1809803"/>
            <a:ext cx="7327976" cy="1113796"/>
            <a:chOff x="762907" y="1581650"/>
            <a:chExt cx="8142195" cy="1237550"/>
          </a:xfrm>
        </p:grpSpPr>
        <p:sp>
          <p:nvSpPr>
            <p:cNvPr id="73"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Politics</a:t>
              </a:r>
              <a:endParaRPr sz="1890" dirty="0"/>
            </a:p>
          </p:txBody>
        </p:sp>
        <p:sp>
          <p:nvSpPr>
            <p:cNvPr id="74" name="Shape 74"/>
            <p:cNvSpPr/>
            <p:nvPr/>
          </p:nvSpPr>
          <p:spPr>
            <a:xfrm>
              <a:off x="2921430" y="1668458"/>
              <a:ext cx="5983672" cy="115074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Sell business transformation/disruption. Needs executive sponsorship. Do not sell up the organisation</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7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20" name="Shape 72"/>
          <p:cNvSpPr txBox="1">
            <a:spLocks/>
          </p:cNvSpPr>
          <p:nvPr/>
        </p:nvSpPr>
        <p:spPr>
          <a:xfrm>
            <a:off x="1923456" y="926359"/>
            <a:ext cx="4284047" cy="59936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lgn="ctr">
              <a:defRPr sz="1800" b="0">
                <a:solidFill>
                  <a:srgbClr val="000000"/>
                </a:solidFill>
              </a:defRPr>
            </a:pPr>
            <a:r>
              <a:rPr lang="en-AU" sz="1620" dirty="0"/>
              <a:t>Lessons learnt</a:t>
            </a:r>
          </a:p>
          <a:p>
            <a:pPr algn="ctr">
              <a:defRPr sz="1800" b="0">
                <a:solidFill>
                  <a:srgbClr val="000000"/>
                </a:solidFill>
              </a:defRPr>
            </a:pPr>
            <a:r>
              <a:rPr lang="en-AU" sz="1620" dirty="0"/>
              <a:t>Don’t think Cloud, think transformation</a:t>
            </a:r>
          </a:p>
        </p:txBody>
      </p:sp>
      <p:grpSp>
        <p:nvGrpSpPr>
          <p:cNvPr id="21" name="Group 20"/>
          <p:cNvGrpSpPr/>
          <p:nvPr/>
        </p:nvGrpSpPr>
        <p:grpSpPr>
          <a:xfrm>
            <a:off x="1358825" y="4115229"/>
            <a:ext cx="7294129" cy="611035"/>
            <a:chOff x="762907" y="1581650"/>
            <a:chExt cx="8104587" cy="678928"/>
          </a:xfrm>
        </p:grpSpPr>
        <p:sp>
          <p:nvSpPr>
            <p:cNvPr id="22" name="Shape 73"/>
            <p:cNvSpPr/>
            <p:nvPr/>
          </p:nvSpPr>
          <p:spPr>
            <a:xfrm>
              <a:off x="762907" y="1608298"/>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Risk and compliance</a:t>
              </a:r>
              <a:endParaRPr sz="1890" dirty="0"/>
            </a:p>
          </p:txBody>
        </p:sp>
        <p:sp>
          <p:nvSpPr>
            <p:cNvPr id="23" name="Shape 74"/>
            <p:cNvSpPr/>
            <p:nvPr/>
          </p:nvSpPr>
          <p:spPr>
            <a:xfrm>
              <a:off x="2883822" y="1608298"/>
              <a:ext cx="5983672" cy="615554"/>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lvl="0"/>
              <a:r>
                <a:rPr lang="en-US" dirty="0" smtClean="0">
                  <a:solidFill>
                    <a:schemeClr val="tx1"/>
                  </a:solidFill>
                </a:rPr>
                <a:t>Deploy </a:t>
              </a:r>
              <a:r>
                <a:rPr lang="en-US" dirty="0">
                  <a:solidFill>
                    <a:schemeClr val="tx1"/>
                  </a:solidFill>
                </a:rPr>
                <a:t>on bare </a:t>
              </a:r>
              <a:r>
                <a:rPr lang="en-US" dirty="0" smtClean="0">
                  <a:solidFill>
                    <a:schemeClr val="tx1"/>
                  </a:solidFill>
                </a:rPr>
                <a:t>metal, ensure a </a:t>
              </a:r>
              <a:r>
                <a:rPr lang="en-US" dirty="0">
                  <a:solidFill>
                    <a:schemeClr val="tx1"/>
                  </a:solidFill>
                </a:rPr>
                <a:t>dedicated, single-tenant </a:t>
              </a:r>
              <a:r>
                <a:rPr lang="en-US" dirty="0" smtClean="0">
                  <a:solidFill>
                    <a:schemeClr val="tx1"/>
                  </a:solidFill>
                </a:rPr>
                <a:t>environment. Your people are reading APRA.</a:t>
              </a: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1337044" y="2850604"/>
            <a:ext cx="7327976" cy="1052754"/>
            <a:chOff x="762907" y="1581650"/>
            <a:chExt cx="8142195" cy="1169727"/>
          </a:xfrm>
        </p:grpSpPr>
        <p:sp>
          <p:nvSpPr>
            <p:cNvPr id="30" name="Shape 73"/>
            <p:cNvSpPr/>
            <p:nvPr/>
          </p:nvSpPr>
          <p:spPr>
            <a:xfrm>
              <a:off x="762907" y="1780027"/>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endParaRPr lang="en-AU" sz="1620" dirty="0">
                <a:solidFill>
                  <a:srgbClr val="000000"/>
                </a:solidFill>
              </a:endParaRPr>
            </a:p>
            <a:p>
              <a:pPr lvl="0">
                <a:defRPr sz="1800">
                  <a:solidFill>
                    <a:srgbClr val="000000"/>
                  </a:solidFill>
                </a:defRPr>
              </a:pPr>
              <a:r>
                <a:rPr lang="en-AU" sz="1620" dirty="0">
                  <a:solidFill>
                    <a:srgbClr val="000000"/>
                  </a:solidFill>
                </a:rPr>
                <a:t>Security </a:t>
              </a:r>
              <a:endParaRPr sz="1890" dirty="0"/>
            </a:p>
          </p:txBody>
        </p:sp>
        <p:sp>
          <p:nvSpPr>
            <p:cNvPr id="31" name="Shape 74"/>
            <p:cNvSpPr/>
            <p:nvPr/>
          </p:nvSpPr>
          <p:spPr>
            <a:xfrm>
              <a:off x="2921430" y="1668458"/>
              <a:ext cx="5983672" cy="108291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defRPr/>
              </a:pPr>
              <a:r>
                <a:rPr lang="en-AU" dirty="0" smtClean="0">
                  <a:solidFill>
                    <a:srgbClr val="000202"/>
                  </a:solidFill>
                </a:rPr>
                <a:t>Get the Security and Risk and Compliance teams in the boat EARLY</a:t>
              </a:r>
            </a:p>
            <a:p>
              <a:pPr defTabSz="822960">
                <a:spcBef>
                  <a:spcPts val="360"/>
                </a:spcBef>
                <a:defRPr/>
              </a:pPr>
              <a:r>
                <a:rPr lang="en-AU" sz="1200" dirty="0" smtClean="0">
                  <a:solidFill>
                    <a:srgbClr val="000202"/>
                  </a:solidFill>
                </a:rPr>
                <a:t>Understand the differences between the security team, the </a:t>
              </a:r>
              <a:r>
                <a:rPr lang="en-AU" sz="1200" dirty="0">
                  <a:solidFill>
                    <a:srgbClr val="000202"/>
                  </a:solidFill>
                </a:rPr>
                <a:t>Risk and </a:t>
              </a:r>
              <a:r>
                <a:rPr lang="en-AU" sz="1200" dirty="0" smtClean="0">
                  <a:solidFill>
                    <a:srgbClr val="000202"/>
                  </a:solidFill>
                </a:rPr>
                <a:t>compliance </a:t>
              </a:r>
              <a:r>
                <a:rPr lang="en-AU" sz="1200" dirty="0">
                  <a:solidFill>
                    <a:srgbClr val="000202"/>
                  </a:solidFill>
                </a:rPr>
                <a:t>team </a:t>
              </a:r>
              <a:r>
                <a:rPr lang="en-AU" sz="1200" dirty="0" smtClean="0">
                  <a:solidFill>
                    <a:srgbClr val="000202"/>
                  </a:solidFill>
                </a:rPr>
                <a:t>and the legal  team</a:t>
              </a:r>
              <a:endParaRPr lang="en-AU" sz="120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Tree>
    <p:extLst>
      <p:ext uri="{BB962C8B-B14F-4D97-AF65-F5344CB8AC3E}">
        <p14:creationId xmlns:p14="http://schemas.microsoft.com/office/powerpoint/2010/main" val="1200608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grpSp>
        <p:nvGrpSpPr>
          <p:cNvPr id="2" name="Group 1"/>
          <p:cNvGrpSpPr/>
          <p:nvPr/>
        </p:nvGrpSpPr>
        <p:grpSpPr>
          <a:xfrm>
            <a:off x="1337044" y="1845778"/>
            <a:ext cx="7327976" cy="1216387"/>
            <a:chOff x="762907" y="1581650"/>
            <a:chExt cx="8142195" cy="1351541"/>
          </a:xfrm>
        </p:grpSpPr>
        <p:sp>
          <p:nvSpPr>
            <p:cNvPr id="73"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The Network</a:t>
              </a:r>
              <a:endParaRPr sz="1890" dirty="0"/>
            </a:p>
          </p:txBody>
        </p:sp>
        <p:sp>
          <p:nvSpPr>
            <p:cNvPr id="74" name="Shape 74"/>
            <p:cNvSpPr/>
            <p:nvPr/>
          </p:nvSpPr>
          <p:spPr>
            <a:xfrm>
              <a:off x="2921430" y="1668458"/>
              <a:ext cx="5983672" cy="126473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Fibre links to the cloud take time, </a:t>
              </a:r>
            </a:p>
            <a:p>
              <a:pPr defTabSz="822960">
                <a:spcBef>
                  <a:spcPts val="360"/>
                </a:spcBef>
              </a:pPr>
              <a:r>
                <a:rPr lang="en-AU" dirty="0" smtClean="0">
                  <a:solidFill>
                    <a:srgbClr val="000202"/>
                  </a:solidFill>
                </a:rPr>
                <a:t>Response time is not the cloud, it is the application</a:t>
              </a:r>
            </a:p>
            <a:p>
              <a:pPr defTabSz="822960">
                <a:spcBef>
                  <a:spcPts val="360"/>
                </a:spcBef>
              </a:pP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7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83" name="Shape 83"/>
          <p:cNvSpPr/>
          <p:nvPr/>
        </p:nvSpPr>
        <p:spPr>
          <a:xfrm>
            <a:off x="3574246" y="2744515"/>
            <a:ext cx="1918814"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b="1" dirty="0" smtClean="0">
                <a:solidFill>
                  <a:srgbClr val="FFFFFF"/>
                </a:solidFill>
              </a:rPr>
              <a:t>BETTER </a:t>
            </a:r>
            <a:r>
              <a:rPr b="1" dirty="0">
                <a:solidFill>
                  <a:srgbClr val="FFFFFF"/>
                </a:solidFill>
              </a:rPr>
              <a:t>IT </a:t>
            </a:r>
          </a:p>
          <a:p>
            <a:pPr algn="ctr" defTabSz="320040"/>
            <a:r>
              <a:rPr b="1" dirty="0">
                <a:solidFill>
                  <a:srgbClr val="FFFFFF"/>
                </a:solidFill>
              </a:rPr>
              <a:t>ECONOM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grpSp>
        <p:nvGrpSpPr>
          <p:cNvPr id="21" name="Group 20"/>
          <p:cNvGrpSpPr/>
          <p:nvPr/>
        </p:nvGrpSpPr>
        <p:grpSpPr>
          <a:xfrm>
            <a:off x="1342492" y="2890190"/>
            <a:ext cx="7327976" cy="836796"/>
            <a:chOff x="762907" y="1581650"/>
            <a:chExt cx="8142195" cy="929773"/>
          </a:xfrm>
        </p:grpSpPr>
        <p:sp>
          <p:nvSpPr>
            <p:cNvPr id="22" name="Shape 73"/>
            <p:cNvSpPr/>
            <p:nvPr/>
          </p:nvSpPr>
          <p:spPr>
            <a:xfrm>
              <a:off x="762907" y="1608298"/>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Internal process</a:t>
              </a:r>
              <a:endParaRPr sz="1890" dirty="0"/>
            </a:p>
          </p:txBody>
        </p:sp>
        <p:sp>
          <p:nvSpPr>
            <p:cNvPr id="23" name="Shape 74"/>
            <p:cNvSpPr/>
            <p:nvPr/>
          </p:nvSpPr>
          <p:spPr>
            <a:xfrm>
              <a:off x="2921430" y="1668458"/>
              <a:ext cx="5983672" cy="842965"/>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Do you control all of the IT infrastructure. If not plan ahead of time.</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1407755" y="4047284"/>
            <a:ext cx="7327976" cy="611035"/>
            <a:chOff x="762907" y="1581650"/>
            <a:chExt cx="8142195" cy="678928"/>
          </a:xfrm>
        </p:grpSpPr>
        <p:sp>
          <p:nvSpPr>
            <p:cNvPr id="30" name="Shape 73"/>
            <p:cNvSpPr/>
            <p:nvPr/>
          </p:nvSpPr>
          <p:spPr>
            <a:xfrm>
              <a:off x="762907" y="1614597"/>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What’s the business case?</a:t>
              </a:r>
              <a:endParaRPr sz="1890" dirty="0"/>
            </a:p>
          </p:txBody>
        </p:sp>
        <p:sp>
          <p:nvSpPr>
            <p:cNvPr id="31" name="Shape 74"/>
            <p:cNvSpPr/>
            <p:nvPr/>
          </p:nvSpPr>
          <p:spPr>
            <a:xfrm>
              <a:off x="2921430" y="1668458"/>
              <a:ext cx="5983672" cy="53518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Don’t take old stuff to the cloud--yet. Go Hybrid</a:t>
              </a:r>
              <a:endParaRPr b="1"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19" name="Shape 72"/>
          <p:cNvSpPr txBox="1">
            <a:spLocks/>
          </p:cNvSpPr>
          <p:nvPr/>
        </p:nvSpPr>
        <p:spPr>
          <a:xfrm>
            <a:off x="1923456" y="926359"/>
            <a:ext cx="4284047" cy="599361"/>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lgn="ctr">
              <a:defRPr sz="1800" b="0">
                <a:solidFill>
                  <a:srgbClr val="000000"/>
                </a:solidFill>
              </a:defRPr>
            </a:pPr>
            <a:r>
              <a:rPr lang="en-AU" sz="1620" dirty="0"/>
              <a:t>Lessons learnt</a:t>
            </a:r>
          </a:p>
          <a:p>
            <a:pPr algn="ctr">
              <a:defRPr sz="1800" b="0">
                <a:solidFill>
                  <a:srgbClr val="000000"/>
                </a:solidFill>
              </a:defRPr>
            </a:pPr>
            <a:r>
              <a:rPr lang="en-AU" sz="1620" dirty="0"/>
              <a:t>Don’t think Cloud, think transformation</a:t>
            </a:r>
          </a:p>
        </p:txBody>
      </p:sp>
    </p:spTree>
    <p:extLst>
      <p:ext uri="{BB962C8B-B14F-4D97-AF65-F5344CB8AC3E}">
        <p14:creationId xmlns:p14="http://schemas.microsoft.com/office/powerpoint/2010/main" val="72698253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8" name="Shape 72"/>
          <p:cNvSpPr txBox="1">
            <a:spLocks/>
          </p:cNvSpPr>
          <p:nvPr/>
        </p:nvSpPr>
        <p:spPr>
          <a:xfrm>
            <a:off x="2673495" y="1154660"/>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Data Lake Status</a:t>
            </a:r>
          </a:p>
        </p:txBody>
      </p:sp>
      <p:sp>
        <p:nvSpPr>
          <p:cNvPr id="5" name="Shape 72"/>
          <p:cNvSpPr txBox="1">
            <a:spLocks/>
          </p:cNvSpPr>
          <p:nvPr/>
        </p:nvSpPr>
        <p:spPr>
          <a:xfrm>
            <a:off x="1268908" y="2046091"/>
            <a:ext cx="5990734" cy="184994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IBM announced as partner and teams engaged July </a:t>
            </a:r>
          </a:p>
          <a:p>
            <a:pPr>
              <a:defRPr sz="1800" b="0">
                <a:solidFill>
                  <a:srgbClr val="000000"/>
                </a:solidFill>
              </a:defRPr>
            </a:pPr>
            <a:endParaRPr lang="en-AU" sz="1620" dirty="0"/>
          </a:p>
          <a:p>
            <a:pPr>
              <a:defRPr sz="1800" b="0">
                <a:solidFill>
                  <a:srgbClr val="000000"/>
                </a:solidFill>
              </a:defRPr>
            </a:pPr>
            <a:r>
              <a:rPr lang="en-AU" sz="1620" dirty="0"/>
              <a:t>Soft launch of data lake, live data, live customers November 23</a:t>
            </a:r>
            <a:r>
              <a:rPr lang="en-AU" sz="1620" baseline="30000" dirty="0"/>
              <a:t>rd</a:t>
            </a:r>
            <a:endParaRPr lang="en-AU" sz="1620" dirty="0"/>
          </a:p>
          <a:p>
            <a:pPr>
              <a:defRPr sz="1800" b="0">
                <a:solidFill>
                  <a:srgbClr val="000000"/>
                </a:solidFill>
              </a:defRPr>
            </a:pPr>
            <a:endParaRPr lang="en-AU" sz="1620" dirty="0"/>
          </a:p>
          <a:p>
            <a:pPr>
              <a:defRPr sz="1800" b="0">
                <a:solidFill>
                  <a:srgbClr val="000000"/>
                </a:solidFill>
              </a:defRPr>
            </a:pPr>
            <a:r>
              <a:rPr lang="en-AU" sz="1620" dirty="0"/>
              <a:t>Hard Launch late February early March.</a:t>
            </a:r>
          </a:p>
          <a:p>
            <a:pPr>
              <a:defRPr sz="1800" b="0">
                <a:solidFill>
                  <a:srgbClr val="000000"/>
                </a:solidFill>
              </a:defRPr>
            </a:pPr>
            <a:endParaRPr lang="en-AU" sz="1620" dirty="0"/>
          </a:p>
          <a:p>
            <a:pPr>
              <a:defRPr sz="1800" b="0">
                <a:solidFill>
                  <a:srgbClr val="000000"/>
                </a:solidFill>
              </a:defRPr>
            </a:pPr>
            <a:r>
              <a:rPr lang="en-AU" sz="1620" dirty="0"/>
              <a:t>The data lake is now the default BI Platform in the bank</a:t>
            </a:r>
          </a:p>
          <a:p>
            <a:pPr>
              <a:defRPr sz="1800" b="0">
                <a:solidFill>
                  <a:srgbClr val="000000"/>
                </a:solidFill>
              </a:defRPr>
            </a:pPr>
            <a:endParaRPr lang="en-AU" sz="1620" dirty="0"/>
          </a:p>
          <a:p>
            <a:pPr>
              <a:defRPr sz="1800" b="0">
                <a:solidFill>
                  <a:srgbClr val="000000"/>
                </a:solidFill>
              </a:defRPr>
            </a:pPr>
            <a:endParaRPr lang="en-AU" sz="1620" dirty="0"/>
          </a:p>
        </p:txBody>
      </p:sp>
    </p:spTree>
    <p:extLst>
      <p:ext uri="{BB962C8B-B14F-4D97-AF65-F5344CB8AC3E}">
        <p14:creationId xmlns:p14="http://schemas.microsoft.com/office/powerpoint/2010/main" val="3786832563"/>
      </p:ext>
    </p:extLst>
  </p:cSld>
  <p:clrMapOvr>
    <a:masterClrMapping/>
  </p:clrMapOvr>
  <p:transition spd="med"/>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grpSp>
        <p:nvGrpSpPr>
          <p:cNvPr id="2" name="Group 1"/>
          <p:cNvGrpSpPr/>
          <p:nvPr/>
        </p:nvGrpSpPr>
        <p:grpSpPr>
          <a:xfrm>
            <a:off x="1233121" y="1754864"/>
            <a:ext cx="7453679" cy="889109"/>
            <a:chOff x="661818" y="1581650"/>
            <a:chExt cx="8281866" cy="987899"/>
          </a:xfrm>
        </p:grpSpPr>
        <p:sp>
          <p:nvSpPr>
            <p:cNvPr id="73" name="Shape 73"/>
            <p:cNvSpPr/>
            <p:nvPr/>
          </p:nvSpPr>
          <p:spPr>
            <a:xfrm>
              <a:off x="661818" y="1780027"/>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Enterprise applications </a:t>
              </a:r>
              <a:r>
                <a:rPr lang="en-AU" sz="1620" dirty="0" err="1">
                  <a:solidFill>
                    <a:srgbClr val="000000"/>
                  </a:solidFill>
                </a:rPr>
                <a:t>aaS</a:t>
              </a:r>
              <a:endParaRPr sz="1890" dirty="0"/>
            </a:p>
          </p:txBody>
        </p:sp>
        <p:sp>
          <p:nvSpPr>
            <p:cNvPr id="74" name="Shape 74"/>
            <p:cNvSpPr/>
            <p:nvPr/>
          </p:nvSpPr>
          <p:spPr>
            <a:xfrm>
              <a:off x="2960011" y="1669588"/>
              <a:ext cx="5983673" cy="89996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Cognos as a service</a:t>
              </a:r>
            </a:p>
            <a:p>
              <a:pPr defTabSz="822960">
                <a:spcBef>
                  <a:spcPts val="360"/>
                </a:spcBef>
              </a:pPr>
              <a:r>
                <a:rPr lang="en-AU" dirty="0" smtClean="0">
                  <a:solidFill>
                    <a:srgbClr val="000202"/>
                  </a:solidFill>
                </a:rPr>
                <a:t>Cognitive computing as a service</a:t>
              </a:r>
              <a:endParaRPr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75"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1" name="Group 20"/>
          <p:cNvGrpSpPr/>
          <p:nvPr/>
        </p:nvGrpSpPr>
        <p:grpSpPr>
          <a:xfrm>
            <a:off x="1358825" y="4095627"/>
            <a:ext cx="7327976" cy="888092"/>
            <a:chOff x="762907" y="1581650"/>
            <a:chExt cx="8142195" cy="986769"/>
          </a:xfrm>
        </p:grpSpPr>
        <p:sp>
          <p:nvSpPr>
            <p:cNvPr id="22" name="Shape 73"/>
            <p:cNvSpPr/>
            <p:nvPr/>
          </p:nvSpPr>
          <p:spPr>
            <a:xfrm>
              <a:off x="762907" y="1608298"/>
              <a:ext cx="2043111"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endParaRPr lang="en-AU" sz="1620" dirty="0">
                <a:solidFill>
                  <a:srgbClr val="000000"/>
                </a:solidFill>
              </a:endParaRPr>
            </a:p>
            <a:p>
              <a:pPr lvl="0">
                <a:defRPr sz="1800">
                  <a:solidFill>
                    <a:srgbClr val="000000"/>
                  </a:solidFill>
                </a:defRPr>
              </a:pPr>
              <a:r>
                <a:rPr lang="en-AU" sz="1620" dirty="0">
                  <a:solidFill>
                    <a:srgbClr val="000000"/>
                  </a:solidFill>
                </a:rPr>
                <a:t>Edge Nodes</a:t>
              </a:r>
              <a:endParaRPr sz="1890" dirty="0"/>
            </a:p>
          </p:txBody>
        </p:sp>
        <p:sp>
          <p:nvSpPr>
            <p:cNvPr id="23" name="Shape 74"/>
            <p:cNvSpPr/>
            <p:nvPr/>
          </p:nvSpPr>
          <p:spPr>
            <a:xfrm>
              <a:off x="2921430" y="1668458"/>
              <a:ext cx="5983672" cy="899961"/>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a:solidFill>
                    <a:srgbClr val="000202"/>
                  </a:solidFill>
                </a:rPr>
                <a:t>Third party applications as a service</a:t>
              </a:r>
            </a:p>
            <a:p>
              <a:pPr defTabSz="822960">
                <a:spcBef>
                  <a:spcPts val="360"/>
                </a:spcBef>
              </a:pPr>
              <a:r>
                <a:rPr lang="en-AU" dirty="0" smtClean="0">
                  <a:solidFill>
                    <a:srgbClr val="000202"/>
                  </a:solidFill>
                </a:rPr>
                <a:t>Tableau </a:t>
              </a:r>
              <a:r>
                <a:rPr lang="en-AU" dirty="0">
                  <a:solidFill>
                    <a:srgbClr val="000202"/>
                  </a:solidFill>
                </a:rPr>
                <a:t>as a service</a:t>
              </a: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28"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grpSp>
        <p:nvGrpSpPr>
          <p:cNvPr id="29" name="Group 28"/>
          <p:cNvGrpSpPr/>
          <p:nvPr/>
        </p:nvGrpSpPr>
        <p:grpSpPr>
          <a:xfrm>
            <a:off x="1358825" y="2934326"/>
            <a:ext cx="7327976" cy="1216387"/>
            <a:chOff x="762907" y="1581650"/>
            <a:chExt cx="8142195" cy="1351541"/>
          </a:xfrm>
        </p:grpSpPr>
        <p:sp>
          <p:nvSpPr>
            <p:cNvPr id="30" name="Shape 73"/>
            <p:cNvSpPr/>
            <p:nvPr/>
          </p:nvSpPr>
          <p:spPr>
            <a:xfrm>
              <a:off x="762907" y="1780027"/>
              <a:ext cx="2043111" cy="276999"/>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lvl1pPr algn="ctr" defTabSz="914400">
                <a:defRPr sz="2100">
                  <a:solidFill>
                    <a:srgbClr val="000202"/>
                  </a:solidFill>
                </a:defRPr>
              </a:lvl1pPr>
            </a:lstStyle>
            <a:p>
              <a:pPr lvl="0">
                <a:defRPr sz="1800">
                  <a:solidFill>
                    <a:srgbClr val="000000"/>
                  </a:solidFill>
                </a:defRPr>
              </a:pPr>
              <a:r>
                <a:rPr lang="en-AU" sz="1620" dirty="0">
                  <a:solidFill>
                    <a:srgbClr val="000000"/>
                  </a:solidFill>
                </a:rPr>
                <a:t>Integration</a:t>
              </a:r>
              <a:endParaRPr sz="1890" dirty="0"/>
            </a:p>
          </p:txBody>
        </p:sp>
        <p:sp>
          <p:nvSpPr>
            <p:cNvPr id="31" name="Shape 74"/>
            <p:cNvSpPr/>
            <p:nvPr/>
          </p:nvSpPr>
          <p:spPr>
            <a:xfrm>
              <a:off x="2921430" y="1668458"/>
              <a:ext cx="5983672" cy="1264733"/>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defTabSz="822960">
                <a:spcBef>
                  <a:spcPts val="360"/>
                </a:spcBef>
              </a:pPr>
              <a:r>
                <a:rPr lang="en-AU" dirty="0" smtClean="0">
                  <a:solidFill>
                    <a:srgbClr val="000202"/>
                  </a:solidFill>
                </a:rPr>
                <a:t>IBM Watson explorer crawls the data lake.</a:t>
              </a:r>
            </a:p>
            <a:p>
              <a:pPr defTabSz="822960">
                <a:spcBef>
                  <a:spcPts val="360"/>
                </a:spcBef>
              </a:pPr>
              <a:r>
                <a:rPr lang="en-AU" dirty="0" smtClean="0">
                  <a:solidFill>
                    <a:srgbClr val="000202"/>
                  </a:solidFill>
                </a:rPr>
                <a:t>IBM MDM is the traditional single view of customer</a:t>
              </a:r>
            </a:p>
            <a:p>
              <a:pPr defTabSz="822960">
                <a:spcBef>
                  <a:spcPts val="360"/>
                </a:spcBef>
              </a:pPr>
              <a:r>
                <a:rPr lang="en-AU" dirty="0" smtClean="0">
                  <a:solidFill>
                    <a:srgbClr val="000202"/>
                  </a:solidFill>
                </a:rPr>
                <a:t>Single screen for the Data lake and MDM</a:t>
              </a:r>
              <a:endParaRPr dirty="0">
                <a:solidFill>
                  <a:srgbClr val="000202"/>
                </a:solidFill>
              </a:endParaRPr>
            </a:p>
            <a:p>
              <a:pPr marL="158591" indent="-158591" defTabSz="822960">
                <a:spcBef>
                  <a:spcPts val="270"/>
                </a:spcBef>
                <a:buClr>
                  <a:srgbClr val="000000"/>
                </a:buClr>
                <a:buSzPct val="100000"/>
                <a:buFont typeface="Wingdings"/>
                <a:buChar char="▪"/>
              </a:pPr>
              <a:endParaRPr sz="1080" b="1" dirty="0">
                <a:solidFill>
                  <a:srgbClr val="000202"/>
                </a:solidFill>
              </a:endParaRPr>
            </a:p>
          </p:txBody>
        </p:sp>
        <p:sp>
          <p:nvSpPr>
            <p:cNvPr id="32" name="Shape 75"/>
            <p:cNvSpPr/>
            <p:nvPr/>
          </p:nvSpPr>
          <p:spPr>
            <a:xfrm>
              <a:off x="2626361" y="1581650"/>
              <a:ext cx="1" cy="678928"/>
            </a:xfrm>
            <a:prstGeom prst="line">
              <a:avLst/>
            </a:prstGeom>
            <a:ln w="12700">
              <a:solidFill>
                <a:srgbClr val="000202"/>
              </a:solidFill>
            </a:ln>
          </p:spPr>
          <p:txBody>
            <a:bodyPr lIns="0" tIns="0" rIns="0" bIns="0"/>
            <a:lstStyle/>
            <a:p>
              <a:pPr lvl="0">
                <a:defRPr sz="1200">
                  <a:latin typeface="+mj-lt"/>
                  <a:ea typeface="+mj-ea"/>
                  <a:cs typeface="+mj-cs"/>
                  <a:sym typeface="Helvetica"/>
                </a:defRPr>
              </a:pPr>
              <a:endParaRPr sz="1080"/>
            </a:p>
          </p:txBody>
        </p:sp>
      </p:grpSp>
      <p:sp>
        <p:nvSpPr>
          <p:cNvPr id="18" name="Shape 72"/>
          <p:cNvSpPr txBox="1">
            <a:spLocks/>
          </p:cNvSpPr>
          <p:nvPr/>
        </p:nvSpPr>
        <p:spPr>
          <a:xfrm>
            <a:off x="2810656" y="1129377"/>
            <a:ext cx="1617241"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r>
              <a:rPr lang="en-AU" sz="1620" dirty="0"/>
              <a:t>The future</a:t>
            </a:r>
          </a:p>
        </p:txBody>
      </p:sp>
    </p:spTree>
    <p:extLst>
      <p:ext uri="{BB962C8B-B14F-4D97-AF65-F5344CB8AC3E}">
        <p14:creationId xmlns:p14="http://schemas.microsoft.com/office/powerpoint/2010/main" val="306696239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xfrm>
            <a:off x="1648248" y="321674"/>
            <a:ext cx="6611751" cy="415528"/>
          </a:xfrm>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8" name="Shape 72"/>
          <p:cNvSpPr txBox="1">
            <a:spLocks/>
          </p:cNvSpPr>
          <p:nvPr/>
        </p:nvSpPr>
        <p:spPr>
          <a:xfrm>
            <a:off x="2427820" y="1302400"/>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endParaRPr lang="en-AU" sz="1620" dirty="0"/>
          </a:p>
        </p:txBody>
      </p:sp>
      <p:pic>
        <p:nvPicPr>
          <p:cNvPr id="19"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9766" y="2427115"/>
            <a:ext cx="81081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19"/>
          <p:cNvSpPr/>
          <p:nvPr/>
        </p:nvSpPr>
        <p:spPr>
          <a:xfrm>
            <a:off x="2297499" y="1367458"/>
            <a:ext cx="3607594" cy="311467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sp>
        <p:nvSpPr>
          <p:cNvPr id="21" name="Oval 20"/>
          <p:cNvSpPr/>
          <p:nvPr/>
        </p:nvSpPr>
        <p:spPr>
          <a:xfrm>
            <a:off x="3115459" y="2031828"/>
            <a:ext cx="1971675" cy="178593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pic>
        <p:nvPicPr>
          <p:cNvPr id="22" name="Picture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85844" y="2446165"/>
            <a:ext cx="525066"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13"/>
          <p:cNvSpPr txBox="1">
            <a:spLocks noChangeArrowheads="1"/>
          </p:cNvSpPr>
          <p:nvPr/>
        </p:nvSpPr>
        <p:spPr bwMode="auto">
          <a:xfrm>
            <a:off x="3542894" y="1451994"/>
            <a:ext cx="1021433"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l" defTabSz="514329" rtl="0" fontAlgn="base">
              <a:lnSpc>
                <a:spcPct val="100000"/>
              </a:lnSpc>
              <a:spcBef>
                <a:spcPct val="0"/>
              </a:spcBef>
              <a:spcAft>
                <a:spcPct val="0"/>
              </a:spcAft>
              <a:buNone/>
              <a:defRPr/>
            </a:pPr>
            <a:r>
              <a:rPr lang="en-AU" altLang="en-US" sz="1013" kern="1200">
                <a:solidFill>
                  <a:prstClr val="black"/>
                </a:solidFill>
                <a:ea typeface="MS PGothic" panose="020B0600070205080204" pitchFamily="34" charset="-128"/>
              </a:rPr>
              <a:t>Enterprise tools</a:t>
            </a:r>
          </a:p>
        </p:txBody>
      </p:sp>
      <p:sp>
        <p:nvSpPr>
          <p:cNvPr id="24" name="TextBox 15"/>
          <p:cNvSpPr txBox="1">
            <a:spLocks noChangeArrowheads="1"/>
          </p:cNvSpPr>
          <p:nvPr/>
        </p:nvSpPr>
        <p:spPr bwMode="auto">
          <a:xfrm>
            <a:off x="3753635" y="3899919"/>
            <a:ext cx="808235"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l"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Edge Nodes</a:t>
            </a:r>
          </a:p>
        </p:txBody>
      </p:sp>
      <p:sp>
        <p:nvSpPr>
          <p:cNvPr id="25" name="Rounded Rectangle 24"/>
          <p:cNvSpPr/>
          <p:nvPr/>
        </p:nvSpPr>
        <p:spPr>
          <a:xfrm>
            <a:off x="1340237" y="1217440"/>
            <a:ext cx="5522119" cy="35290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sp>
        <p:nvSpPr>
          <p:cNvPr id="26" name="TextBox 6"/>
          <p:cNvSpPr txBox="1">
            <a:spLocks noChangeArrowheads="1"/>
          </p:cNvSpPr>
          <p:nvPr/>
        </p:nvSpPr>
        <p:spPr bwMode="auto">
          <a:xfrm>
            <a:off x="3382990" y="2215184"/>
            <a:ext cx="1436612" cy="40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Unstructured Data Lake</a:t>
            </a:r>
          </a:p>
          <a:p>
            <a:pPr algn="ctr" defTabSz="514329" rtl="0" fontAlgn="base">
              <a:lnSpc>
                <a:spcPct val="100000"/>
              </a:lnSpc>
              <a:spcBef>
                <a:spcPct val="0"/>
              </a:spcBef>
              <a:spcAft>
                <a:spcPct val="0"/>
              </a:spcAft>
              <a:buNone/>
              <a:defRPr/>
            </a:pPr>
            <a:endParaRPr lang="en-AU" altLang="en-US" sz="1013" kern="1200" dirty="0">
              <a:solidFill>
                <a:prstClr val="black"/>
              </a:solidFill>
              <a:ea typeface="MS PGothic" panose="020B0600070205080204" pitchFamily="34" charset="-128"/>
            </a:endParaRPr>
          </a:p>
        </p:txBody>
      </p:sp>
      <p:pic>
        <p:nvPicPr>
          <p:cNvPr id="33" name="Picture 2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560753" y="4202337"/>
            <a:ext cx="1151334"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86948" y="3053384"/>
            <a:ext cx="791765"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2629684" y="3483199"/>
            <a:ext cx="758149" cy="41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19"/>
          <p:cNvSpPr txBox="1">
            <a:spLocks noChangeArrowheads="1"/>
          </p:cNvSpPr>
          <p:nvPr/>
        </p:nvSpPr>
        <p:spPr bwMode="auto">
          <a:xfrm>
            <a:off x="5264771" y="1482380"/>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
        <p:nvSpPr>
          <p:cNvPr id="39" name="TextBox 19"/>
          <p:cNvSpPr txBox="1">
            <a:spLocks noChangeArrowheads="1"/>
          </p:cNvSpPr>
          <p:nvPr/>
        </p:nvSpPr>
        <p:spPr bwMode="auto">
          <a:xfrm>
            <a:off x="1482842" y="4212895"/>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
        <p:nvSpPr>
          <p:cNvPr id="40" name="TextBox 19"/>
          <p:cNvSpPr txBox="1">
            <a:spLocks noChangeArrowheads="1"/>
          </p:cNvSpPr>
          <p:nvPr/>
        </p:nvSpPr>
        <p:spPr bwMode="auto">
          <a:xfrm>
            <a:off x="1390384" y="1459379"/>
            <a:ext cx="171938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sp>
        <p:nvSpPr>
          <p:cNvPr id="41" name="TextBox 19"/>
          <p:cNvSpPr txBox="1">
            <a:spLocks noChangeArrowheads="1"/>
          </p:cNvSpPr>
          <p:nvPr/>
        </p:nvSpPr>
        <p:spPr bwMode="auto">
          <a:xfrm>
            <a:off x="5074946" y="4199181"/>
            <a:ext cx="171938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spTree>
    <p:extLst>
      <p:ext uri="{BB962C8B-B14F-4D97-AF65-F5344CB8AC3E}">
        <p14:creationId xmlns:p14="http://schemas.microsoft.com/office/powerpoint/2010/main" val="2576091560"/>
      </p:ext>
    </p:extLst>
  </p:cSld>
  <p:clrMapOvr>
    <a:masterClrMapping/>
  </p:clrMapOvr>
  <p:transition spd="med"/>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Data Services</a:t>
            </a:r>
            <a:endParaRPr lang="en-US" dirty="0"/>
          </a:p>
        </p:txBody>
      </p:sp>
      <p:sp>
        <p:nvSpPr>
          <p:cNvPr id="3" name="Content Placeholder 2"/>
          <p:cNvSpPr>
            <a:spLocks noGrp="1"/>
          </p:cNvSpPr>
          <p:nvPr>
            <p:ph idx="1"/>
          </p:nvPr>
        </p:nvSpPr>
        <p:spPr>
          <a:xfrm>
            <a:off x="266700" y="1435384"/>
            <a:ext cx="8542338" cy="3708116"/>
          </a:xfrm>
        </p:spPr>
        <p:txBody>
          <a:bodyPr/>
          <a:lstStyle/>
          <a:p>
            <a:r>
              <a:rPr lang="en-US" dirty="0" smtClean="0"/>
              <a:t>Introduction to IBM Cloud Data Services</a:t>
            </a:r>
          </a:p>
          <a:p>
            <a:pPr marL="0" indent="0">
              <a:buNone/>
            </a:pPr>
            <a:endParaRPr lang="en-US" dirty="0" smtClean="0"/>
          </a:p>
          <a:p>
            <a:r>
              <a:rPr lang="en-US" dirty="0" smtClean="0"/>
              <a:t>Is IBM a cloud company?</a:t>
            </a:r>
          </a:p>
          <a:p>
            <a:pPr marL="0" indent="0">
              <a:buNone/>
            </a:pPr>
            <a:endParaRPr lang="en-US" dirty="0" smtClean="0"/>
          </a:p>
          <a:p>
            <a:r>
              <a:rPr lang="en-US" dirty="0" smtClean="0"/>
              <a:t>Is my company ready for Cloud?</a:t>
            </a:r>
          </a:p>
          <a:p>
            <a:pPr marL="0" indent="0">
              <a:buNone/>
            </a:pPr>
            <a:endParaRPr lang="en-US" dirty="0"/>
          </a:p>
          <a:p>
            <a:r>
              <a:rPr lang="en-US" dirty="0" smtClean="0"/>
              <a:t>Cloud offerings aren’t secure enough for my sensitive data.</a:t>
            </a:r>
          </a:p>
          <a:p>
            <a:endParaRPr lang="en-US" dirty="0"/>
          </a:p>
          <a:p>
            <a:endParaRPr lang="en-US" dirty="0"/>
          </a:p>
        </p:txBody>
      </p:sp>
    </p:spTree>
    <p:extLst>
      <p:ext uri="{BB962C8B-B14F-4D97-AF65-F5344CB8AC3E}">
        <p14:creationId xmlns:p14="http://schemas.microsoft.com/office/powerpoint/2010/main" val="608340821"/>
      </p:ext>
    </p:extLst>
  </p:cSld>
  <p:clrMapOvr>
    <a:masterClrMapping/>
  </p:clrMapOvr>
  <p:transition spd="med"/>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xfrm>
            <a:off x="1648248" y="321674"/>
            <a:ext cx="6611751" cy="415528"/>
          </a:xfrm>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A </a:t>
            </a:r>
            <a:r>
              <a:rPr lang="en-AU" sz="2160" dirty="0" err="1"/>
              <a:t>jou</a:t>
            </a:r>
            <a:r>
              <a:rPr sz="2160" dirty="0" err="1"/>
              <a:t>rney</a:t>
            </a:r>
            <a:r>
              <a:rPr sz="2160" dirty="0"/>
              <a:t> to Cloud-based Analytics</a:t>
            </a:r>
          </a:p>
        </p:txBody>
      </p:sp>
      <p:sp>
        <p:nvSpPr>
          <p:cNvPr id="84" name="Shape 84"/>
          <p:cNvSpPr/>
          <p:nvPr/>
        </p:nvSpPr>
        <p:spPr>
          <a:xfrm>
            <a:off x="5941528" y="2744515"/>
            <a:ext cx="1841658" cy="55399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b="1" dirty="0" smtClean="0">
                <a:solidFill>
                  <a:srgbClr val="FFFFFF"/>
                </a:solidFill>
              </a:rPr>
              <a:t>LOWER </a:t>
            </a:r>
            <a:r>
              <a:rPr b="1" dirty="0">
                <a:solidFill>
                  <a:srgbClr val="FFFFFF"/>
                </a:solidFill>
              </a:rPr>
              <a:t>RISK </a:t>
            </a:r>
            <a:br>
              <a:rPr b="1" dirty="0">
                <a:solidFill>
                  <a:srgbClr val="FFFFFF"/>
                </a:solidFill>
              </a:rPr>
            </a:br>
            <a:r>
              <a:rPr b="1" dirty="0">
                <a:solidFill>
                  <a:srgbClr val="FFFFFF"/>
                </a:solidFill>
              </a:rPr>
              <a:t>OF FAILURE</a:t>
            </a:r>
          </a:p>
        </p:txBody>
      </p:sp>
      <p:sp>
        <p:nvSpPr>
          <p:cNvPr id="28" name="Shape 72"/>
          <p:cNvSpPr txBox="1">
            <a:spLocks/>
          </p:cNvSpPr>
          <p:nvPr/>
        </p:nvSpPr>
        <p:spPr>
          <a:xfrm>
            <a:off x="2427820" y="1302400"/>
            <a:ext cx="3346498" cy="415528"/>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normAutofit/>
          </a:bodyPr>
          <a:lstStyle>
            <a:lvl1pPr defTabSz="321439">
              <a:defRPr sz="2400" b="1">
                <a:solidFill>
                  <a:srgbClr val="000202"/>
                </a:solidFill>
                <a:latin typeface="Arial"/>
                <a:ea typeface="Arial"/>
                <a:cs typeface="Arial"/>
                <a:sym typeface="Arial"/>
              </a:defRPr>
            </a:lvl1pPr>
            <a:lvl2pPr>
              <a:defRPr sz="2200">
                <a:latin typeface="Arial"/>
                <a:ea typeface="Arial"/>
                <a:cs typeface="Arial"/>
                <a:sym typeface="Arial"/>
              </a:defRPr>
            </a:lvl2pPr>
            <a:lvl3pPr>
              <a:defRPr sz="2200">
                <a:latin typeface="Arial"/>
                <a:ea typeface="Arial"/>
                <a:cs typeface="Arial"/>
                <a:sym typeface="Arial"/>
              </a:defRPr>
            </a:lvl3pPr>
            <a:lvl4pPr>
              <a:defRPr sz="2200">
                <a:latin typeface="Arial"/>
                <a:ea typeface="Arial"/>
                <a:cs typeface="Arial"/>
                <a:sym typeface="Arial"/>
              </a:defRPr>
            </a:lvl4pPr>
            <a:lvl5pPr>
              <a:defRPr sz="2200">
                <a:latin typeface="Arial"/>
                <a:ea typeface="Arial"/>
                <a:cs typeface="Arial"/>
                <a:sym typeface="Arial"/>
              </a:defRPr>
            </a:lvl5pPr>
            <a:lvl6pPr indent="457200">
              <a:defRPr sz="2200">
                <a:latin typeface="Arial"/>
                <a:ea typeface="Arial"/>
                <a:cs typeface="Arial"/>
                <a:sym typeface="Arial"/>
              </a:defRPr>
            </a:lvl6pPr>
            <a:lvl7pPr indent="914400">
              <a:defRPr sz="2200">
                <a:latin typeface="Arial"/>
                <a:ea typeface="Arial"/>
                <a:cs typeface="Arial"/>
                <a:sym typeface="Arial"/>
              </a:defRPr>
            </a:lvl7pPr>
            <a:lvl8pPr indent="1371600">
              <a:defRPr sz="2200">
                <a:latin typeface="Arial"/>
                <a:ea typeface="Arial"/>
                <a:cs typeface="Arial"/>
                <a:sym typeface="Arial"/>
              </a:defRPr>
            </a:lvl8pPr>
            <a:lvl9pPr indent="1828800">
              <a:defRPr sz="2200">
                <a:latin typeface="Arial"/>
                <a:ea typeface="Arial"/>
                <a:cs typeface="Arial"/>
                <a:sym typeface="Arial"/>
              </a:defRPr>
            </a:lvl9pPr>
          </a:lstStyle>
          <a:p>
            <a:pPr>
              <a:defRPr sz="1800" b="0">
                <a:solidFill>
                  <a:srgbClr val="000000"/>
                </a:solidFill>
              </a:defRPr>
            </a:pPr>
            <a:endParaRPr lang="en-AU" sz="1620" dirty="0"/>
          </a:p>
        </p:txBody>
      </p:sp>
      <p:pic>
        <p:nvPicPr>
          <p:cNvPr id="19" name="Picture 1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9766" y="2427115"/>
            <a:ext cx="810815" cy="600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Oval 19"/>
          <p:cNvSpPr/>
          <p:nvPr/>
        </p:nvSpPr>
        <p:spPr>
          <a:xfrm>
            <a:off x="2297499" y="1367458"/>
            <a:ext cx="3607594" cy="311467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sp>
        <p:nvSpPr>
          <p:cNvPr id="21" name="Oval 20"/>
          <p:cNvSpPr/>
          <p:nvPr/>
        </p:nvSpPr>
        <p:spPr>
          <a:xfrm>
            <a:off x="3115459" y="2031828"/>
            <a:ext cx="1971675" cy="1785938"/>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pic>
        <p:nvPicPr>
          <p:cNvPr id="22" name="Picture 12"/>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285844" y="2446165"/>
            <a:ext cx="525066"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TextBox 13"/>
          <p:cNvSpPr txBox="1">
            <a:spLocks noChangeArrowheads="1"/>
          </p:cNvSpPr>
          <p:nvPr/>
        </p:nvSpPr>
        <p:spPr bwMode="auto">
          <a:xfrm>
            <a:off x="3542894" y="1451994"/>
            <a:ext cx="1021433"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l" defTabSz="514329" rtl="0" fontAlgn="base">
              <a:lnSpc>
                <a:spcPct val="100000"/>
              </a:lnSpc>
              <a:spcBef>
                <a:spcPct val="0"/>
              </a:spcBef>
              <a:spcAft>
                <a:spcPct val="0"/>
              </a:spcAft>
              <a:buNone/>
              <a:defRPr/>
            </a:pPr>
            <a:r>
              <a:rPr lang="en-AU" altLang="en-US" sz="1013" kern="1200">
                <a:solidFill>
                  <a:prstClr val="black"/>
                </a:solidFill>
                <a:ea typeface="MS PGothic" panose="020B0600070205080204" pitchFamily="34" charset="-128"/>
              </a:rPr>
              <a:t>Enterprise tools</a:t>
            </a:r>
          </a:p>
        </p:txBody>
      </p:sp>
      <p:sp>
        <p:nvSpPr>
          <p:cNvPr id="24" name="TextBox 15"/>
          <p:cNvSpPr txBox="1">
            <a:spLocks noChangeArrowheads="1"/>
          </p:cNvSpPr>
          <p:nvPr/>
        </p:nvSpPr>
        <p:spPr bwMode="auto">
          <a:xfrm>
            <a:off x="3753635" y="3899919"/>
            <a:ext cx="808235" cy="248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l"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Edge Nodes</a:t>
            </a:r>
          </a:p>
        </p:txBody>
      </p:sp>
      <p:sp>
        <p:nvSpPr>
          <p:cNvPr id="25" name="Rounded Rectangle 24"/>
          <p:cNvSpPr/>
          <p:nvPr/>
        </p:nvSpPr>
        <p:spPr>
          <a:xfrm>
            <a:off x="1340237" y="1217440"/>
            <a:ext cx="5522119" cy="352901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514329" rtl="0">
              <a:defRPr/>
            </a:pPr>
            <a:endParaRPr lang="en-AU" sz="1013" kern="1200">
              <a:solidFill>
                <a:prstClr val="white"/>
              </a:solidFill>
            </a:endParaRPr>
          </a:p>
        </p:txBody>
      </p:sp>
      <p:sp>
        <p:nvSpPr>
          <p:cNvPr id="26" name="TextBox 6"/>
          <p:cNvSpPr txBox="1">
            <a:spLocks noChangeArrowheads="1"/>
          </p:cNvSpPr>
          <p:nvPr/>
        </p:nvSpPr>
        <p:spPr bwMode="auto">
          <a:xfrm>
            <a:off x="3382990" y="2215184"/>
            <a:ext cx="1436612" cy="40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013" kern="1200" dirty="0">
                <a:solidFill>
                  <a:prstClr val="black"/>
                </a:solidFill>
                <a:ea typeface="MS PGothic" panose="020B0600070205080204" pitchFamily="34" charset="-128"/>
              </a:rPr>
              <a:t>Unstructured Data Lake</a:t>
            </a:r>
          </a:p>
          <a:p>
            <a:pPr algn="ctr" defTabSz="514329" rtl="0" fontAlgn="base">
              <a:lnSpc>
                <a:spcPct val="100000"/>
              </a:lnSpc>
              <a:spcBef>
                <a:spcPct val="0"/>
              </a:spcBef>
              <a:spcAft>
                <a:spcPct val="0"/>
              </a:spcAft>
              <a:buNone/>
              <a:defRPr/>
            </a:pPr>
            <a:endParaRPr lang="en-AU" altLang="en-US" sz="1013" kern="1200" dirty="0">
              <a:solidFill>
                <a:prstClr val="black"/>
              </a:solidFill>
              <a:ea typeface="MS PGothic" panose="020B0600070205080204" pitchFamily="34" charset="-128"/>
            </a:endParaRPr>
          </a:p>
        </p:txBody>
      </p:sp>
      <p:pic>
        <p:nvPicPr>
          <p:cNvPr id="27" name="Picture 6"/>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62477" y="2102899"/>
            <a:ext cx="640556"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60753" y="4202337"/>
            <a:ext cx="1151334" cy="27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586948" y="3053384"/>
            <a:ext cx="791765" cy="429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2629684" y="3483199"/>
            <a:ext cx="758149" cy="41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843718" y="1791321"/>
            <a:ext cx="544116" cy="544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36"/>
          <p:cNvPicPr>
            <a:picLocks noChangeAspect="1"/>
          </p:cNvPicPr>
          <p:nvPr/>
        </p:nvPicPr>
        <p:blipFill>
          <a:blip r:embed="rId9"/>
          <a:stretch>
            <a:fillRect/>
          </a:stretch>
        </p:blipFill>
        <p:spPr>
          <a:xfrm>
            <a:off x="5092438" y="3257852"/>
            <a:ext cx="487074" cy="364593"/>
          </a:xfrm>
          <a:prstGeom prst="rect">
            <a:avLst/>
          </a:prstGeom>
        </p:spPr>
      </p:pic>
      <p:sp>
        <p:nvSpPr>
          <p:cNvPr id="38" name="TextBox 19"/>
          <p:cNvSpPr txBox="1">
            <a:spLocks noChangeArrowheads="1"/>
          </p:cNvSpPr>
          <p:nvPr/>
        </p:nvSpPr>
        <p:spPr bwMode="auto">
          <a:xfrm>
            <a:off x="5264771" y="1482380"/>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
        <p:nvSpPr>
          <p:cNvPr id="39" name="TextBox 19"/>
          <p:cNvSpPr txBox="1">
            <a:spLocks noChangeArrowheads="1"/>
          </p:cNvSpPr>
          <p:nvPr/>
        </p:nvSpPr>
        <p:spPr bwMode="auto">
          <a:xfrm>
            <a:off x="1482842" y="4212895"/>
            <a:ext cx="1458926"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Bare Metal Servers</a:t>
            </a:r>
          </a:p>
        </p:txBody>
      </p:sp>
      <p:sp>
        <p:nvSpPr>
          <p:cNvPr id="40" name="TextBox 19"/>
          <p:cNvSpPr txBox="1">
            <a:spLocks noChangeArrowheads="1"/>
          </p:cNvSpPr>
          <p:nvPr/>
        </p:nvSpPr>
        <p:spPr bwMode="auto">
          <a:xfrm>
            <a:off x="1390384" y="1459379"/>
            <a:ext cx="171938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sp>
        <p:nvSpPr>
          <p:cNvPr id="41" name="TextBox 19"/>
          <p:cNvSpPr txBox="1">
            <a:spLocks noChangeArrowheads="1"/>
          </p:cNvSpPr>
          <p:nvPr/>
        </p:nvSpPr>
        <p:spPr bwMode="auto">
          <a:xfrm>
            <a:off x="5074946" y="4199181"/>
            <a:ext cx="1719381"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defTabSz="514329" rtl="0" fontAlgn="base">
              <a:lnSpc>
                <a:spcPct val="100000"/>
              </a:lnSpc>
              <a:spcBef>
                <a:spcPct val="0"/>
              </a:spcBef>
              <a:spcAft>
                <a:spcPct val="0"/>
              </a:spcAft>
              <a:buNone/>
              <a:defRPr/>
            </a:pPr>
            <a:r>
              <a:rPr lang="en-AU" altLang="en-US" sz="1260" b="1" kern="1200" dirty="0">
                <a:solidFill>
                  <a:prstClr val="black"/>
                </a:solidFill>
                <a:ea typeface="MS PGothic" panose="020B0600070205080204" pitchFamily="34" charset="-128"/>
              </a:rPr>
              <a:t>Softlayer Private Cloud</a:t>
            </a:r>
          </a:p>
        </p:txBody>
      </p:sp>
      <p:pic>
        <p:nvPicPr>
          <p:cNvPr id="3" name="Picture 2"/>
          <p:cNvPicPr>
            <a:picLocks noChangeAspect="1"/>
          </p:cNvPicPr>
          <p:nvPr/>
        </p:nvPicPr>
        <p:blipFill>
          <a:blip r:embed="rId10"/>
          <a:stretch>
            <a:fillRect/>
          </a:stretch>
        </p:blipFill>
        <p:spPr>
          <a:xfrm>
            <a:off x="2441944" y="2684290"/>
            <a:ext cx="673515" cy="414471"/>
          </a:xfrm>
          <a:prstGeom prst="rect">
            <a:avLst/>
          </a:prstGeom>
        </p:spPr>
      </p:pic>
    </p:spTree>
    <p:extLst>
      <p:ext uri="{BB962C8B-B14F-4D97-AF65-F5344CB8AC3E}">
        <p14:creationId xmlns:p14="http://schemas.microsoft.com/office/powerpoint/2010/main" val="40241496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Shape 72"/>
          <p:cNvSpPr>
            <a:spLocks noGrp="1"/>
          </p:cNvSpPr>
          <p:nvPr>
            <p:ph type="title"/>
          </p:nvPr>
        </p:nvSpPr>
        <p:spPr>
          <a:prstGeom prst="rect">
            <a:avLst/>
          </a:prstGeom>
        </p:spPr>
        <p:txBody>
          <a:bodyPr anchor="ctr">
            <a:normAutofit/>
          </a:bodyPr>
          <a:lstStyle>
            <a:lvl1pPr defTabSz="321439">
              <a:defRPr sz="2400" b="1">
                <a:solidFill>
                  <a:srgbClr val="000202"/>
                </a:solidFill>
              </a:defRPr>
            </a:lvl1pPr>
          </a:lstStyle>
          <a:p>
            <a:pPr lvl="0">
              <a:defRPr sz="1800" b="0">
                <a:solidFill>
                  <a:srgbClr val="000000"/>
                </a:solidFill>
              </a:defRPr>
            </a:pPr>
            <a:r>
              <a:rPr lang="en-AU" sz="2160" dirty="0"/>
              <a:t>How to be the smartest cloud person in the room</a:t>
            </a:r>
            <a:endParaRPr sz="2160" dirty="0"/>
          </a:p>
        </p:txBody>
      </p:sp>
      <p:sp>
        <p:nvSpPr>
          <p:cNvPr id="73" name="Shape 73"/>
          <p:cNvSpPr/>
          <p:nvPr/>
        </p:nvSpPr>
        <p:spPr>
          <a:xfrm>
            <a:off x="1742654" y="1062114"/>
            <a:ext cx="5074104" cy="29084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890" dirty="0"/>
              <a:t>memorise the following terms</a:t>
            </a:r>
            <a:endParaRPr sz="1890" dirty="0"/>
          </a:p>
        </p:txBody>
      </p:sp>
      <p:grpSp>
        <p:nvGrpSpPr>
          <p:cNvPr id="2" name="Group 1"/>
          <p:cNvGrpSpPr/>
          <p:nvPr/>
        </p:nvGrpSpPr>
        <p:grpSpPr>
          <a:xfrm>
            <a:off x="1830167" y="2977364"/>
            <a:ext cx="1981515" cy="808235"/>
            <a:chOff x="839528" y="2908218"/>
            <a:chExt cx="2201683" cy="898039"/>
          </a:xfrm>
        </p:grpSpPr>
        <p:sp>
          <p:nvSpPr>
            <p:cNvPr id="77" name="Shape 77"/>
            <p:cNvSpPr/>
            <p:nvPr/>
          </p:nvSpPr>
          <p:spPr>
            <a:xfrm>
              <a:off x="839528" y="2908218"/>
              <a:ext cx="220168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82" name="Shape 82"/>
            <p:cNvSpPr/>
            <p:nvPr/>
          </p:nvSpPr>
          <p:spPr>
            <a:xfrm>
              <a:off x="969498" y="3218737"/>
              <a:ext cx="195897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defTabSz="321404"/>
              <a:r>
                <a:rPr lang="en-AU" b="1" dirty="0" smtClean="0">
                  <a:solidFill>
                    <a:srgbClr val="FFFFFF"/>
                  </a:solidFill>
                </a:rPr>
                <a:t>Agility</a:t>
              </a:r>
            </a:p>
          </p:txBody>
        </p:sp>
      </p:grpSp>
      <p:grpSp>
        <p:nvGrpSpPr>
          <p:cNvPr id="3" name="Group 2"/>
          <p:cNvGrpSpPr/>
          <p:nvPr/>
        </p:nvGrpSpPr>
        <p:grpSpPr>
          <a:xfrm>
            <a:off x="1249482" y="1684009"/>
            <a:ext cx="2156544" cy="808235"/>
            <a:chOff x="3330264" y="2923522"/>
            <a:chExt cx="2396160" cy="898039"/>
          </a:xfrm>
        </p:grpSpPr>
        <p:sp>
          <p:nvSpPr>
            <p:cNvPr id="76" name="Shape 76"/>
            <p:cNvSpPr/>
            <p:nvPr/>
          </p:nvSpPr>
          <p:spPr>
            <a:xfrm>
              <a:off x="3330264" y="2923522"/>
              <a:ext cx="2396160"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0040">
                <a:defRPr sz="1200"/>
              </a:pPr>
              <a:endParaRPr sz="1080"/>
            </a:p>
          </p:txBody>
        </p:sp>
        <p:sp>
          <p:nvSpPr>
            <p:cNvPr id="83" name="Shape 83"/>
            <p:cNvSpPr/>
            <p:nvPr/>
          </p:nvSpPr>
          <p:spPr>
            <a:xfrm>
              <a:off x="3463384" y="3203349"/>
              <a:ext cx="213201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0040"/>
              <a:r>
                <a:rPr lang="en-AU" b="1" dirty="0" smtClean="0">
                  <a:solidFill>
                    <a:srgbClr val="FFFFFF"/>
                  </a:solidFill>
                </a:rPr>
                <a:t>Disruptive</a:t>
              </a:r>
            </a:p>
          </p:txBody>
        </p:sp>
      </p:grpSp>
      <p:grpSp>
        <p:nvGrpSpPr>
          <p:cNvPr id="4" name="Group 3"/>
          <p:cNvGrpSpPr/>
          <p:nvPr/>
        </p:nvGrpSpPr>
        <p:grpSpPr>
          <a:xfrm>
            <a:off x="4977469" y="3240437"/>
            <a:ext cx="2069832" cy="808235"/>
            <a:chOff x="5979634" y="2923522"/>
            <a:chExt cx="2299813" cy="898039"/>
          </a:xfrm>
        </p:grpSpPr>
        <p:sp>
          <p:nvSpPr>
            <p:cNvPr id="78" name="Shape 78"/>
            <p:cNvSpPr/>
            <p:nvPr/>
          </p:nvSpPr>
          <p:spPr>
            <a:xfrm>
              <a:off x="5979634" y="2923522"/>
              <a:ext cx="229981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84" name="Shape 84"/>
            <p:cNvSpPr/>
            <p:nvPr/>
          </p:nvSpPr>
          <p:spPr>
            <a:xfrm>
              <a:off x="6093697" y="3049461"/>
              <a:ext cx="2046287" cy="615553"/>
            </a:xfrm>
            <a:prstGeom prst="rect">
              <a:avLst/>
            </a:prstGeom>
            <a:ln w="12700">
              <a:miter lim="400000"/>
            </a:ln>
            <a:extLst>
              <a:ext uri="{C572A759-6A51-4108-AA02-DFA0A04FC94B}">
                <ma14:wrappingTextBoxFlag xmlns:ma14="http://schemas.microsoft.com/office/mac/drawingml/2011/main" xmlns="" val="1"/>
              </a:ext>
            </a:extLst>
          </p:spPr>
          <p:txBody>
            <a:bodyPr lIns="0" tIns="0" rIns="0" bIns="0" anchor="ctr">
              <a:spAutoFit/>
            </a:bodyPr>
            <a:lstStyle/>
            <a:p>
              <a:pPr algn="ctr" defTabSz="321404"/>
              <a:r>
                <a:rPr lang="en-AU" b="1" dirty="0" smtClean="0">
                  <a:solidFill>
                    <a:srgbClr val="FFFFFF"/>
                  </a:solidFill>
                </a:rPr>
                <a:t>Utility based pricing</a:t>
              </a:r>
              <a:endParaRPr b="1" dirty="0">
                <a:solidFill>
                  <a:srgbClr val="FFFFFF"/>
                </a:solidFill>
              </a:endParaRPr>
            </a:p>
          </p:txBody>
        </p:sp>
      </p:grpSp>
      <p:grpSp>
        <p:nvGrpSpPr>
          <p:cNvPr id="18" name="Group 17"/>
          <p:cNvGrpSpPr/>
          <p:nvPr/>
        </p:nvGrpSpPr>
        <p:grpSpPr>
          <a:xfrm>
            <a:off x="4977469" y="1962213"/>
            <a:ext cx="1981515" cy="808235"/>
            <a:chOff x="839528" y="2908218"/>
            <a:chExt cx="2201683" cy="898039"/>
          </a:xfrm>
        </p:grpSpPr>
        <p:sp>
          <p:nvSpPr>
            <p:cNvPr id="19" name="Shape 77"/>
            <p:cNvSpPr/>
            <p:nvPr/>
          </p:nvSpPr>
          <p:spPr>
            <a:xfrm>
              <a:off x="839528" y="2908218"/>
              <a:ext cx="2201683" cy="898039"/>
            </a:xfrm>
            <a:prstGeom prst="rect">
              <a:avLst/>
            </a:prstGeom>
            <a:solidFill>
              <a:srgbClr val="57C8D2"/>
            </a:solidFill>
            <a:ln w="12700">
              <a:miter lim="400000"/>
            </a:ln>
            <a:effectLst>
              <a:outerShdw blurRad="190500" dist="8455" dir="5400000" rotWithShape="0">
                <a:srgbClr val="000000">
                  <a:alpha val="26068"/>
                </a:srgbClr>
              </a:outerShdw>
            </a:effectLst>
          </p:spPr>
          <p:txBody>
            <a:bodyPr lIns="0" tIns="0" rIns="0" bIns="0"/>
            <a:lstStyle/>
            <a:p>
              <a:pPr algn="ctr" defTabSz="321404"/>
              <a:endParaRPr/>
            </a:p>
          </p:txBody>
        </p:sp>
        <p:sp>
          <p:nvSpPr>
            <p:cNvPr id="20" name="Shape 82"/>
            <p:cNvSpPr/>
            <p:nvPr/>
          </p:nvSpPr>
          <p:spPr>
            <a:xfrm>
              <a:off x="969498" y="3218737"/>
              <a:ext cx="1958976" cy="307777"/>
            </a:xfrm>
            <a:prstGeom prst="rect">
              <a:avLst/>
            </a:prstGeom>
            <a:ln w="12700">
              <a:miter lim="400000"/>
            </a:ln>
            <a:extLst>
              <a:ext uri="{C572A759-6A51-4108-AA02-DFA0A04FC94B}">
                <ma14:wrappingTextBoxFlag xmlns:ma14="http://schemas.microsoft.com/office/mac/drawingml/2011/main" xmlns="" val="1"/>
              </a:ext>
            </a:extLst>
          </p:spPr>
          <p:txBody>
            <a:bodyPr lIns="0" tIns="0" rIns="0" bIns="0">
              <a:spAutoFit/>
            </a:bodyPr>
            <a:lstStyle/>
            <a:p>
              <a:pPr algn="ctr" defTabSz="321404"/>
              <a:r>
                <a:rPr lang="en-AU" b="1" dirty="0" smtClean="0">
                  <a:solidFill>
                    <a:srgbClr val="FFFFFF"/>
                  </a:solidFill>
                </a:rPr>
                <a:t>Flexible</a:t>
              </a:r>
            </a:p>
          </p:txBody>
        </p:sp>
      </p:grpSp>
      <p:sp>
        <p:nvSpPr>
          <p:cNvPr id="21" name="Shape 73"/>
          <p:cNvSpPr/>
          <p:nvPr/>
        </p:nvSpPr>
        <p:spPr>
          <a:xfrm>
            <a:off x="1661052" y="4373236"/>
            <a:ext cx="5074104" cy="29084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lgn="ctr" defTabSz="914400">
              <a:defRPr sz="2100">
                <a:solidFill>
                  <a:srgbClr val="000202"/>
                </a:solidFill>
              </a:defRPr>
            </a:lvl1pPr>
          </a:lstStyle>
          <a:p>
            <a:pPr lvl="0">
              <a:defRPr sz="1800">
                <a:solidFill>
                  <a:srgbClr val="000000"/>
                </a:solidFill>
              </a:defRPr>
            </a:pPr>
            <a:r>
              <a:rPr lang="en-AU" sz="1890" dirty="0"/>
              <a:t>Reassemble them in any order</a:t>
            </a:r>
            <a:endParaRPr sz="1890" dirty="0"/>
          </a:p>
        </p:txBody>
      </p:sp>
    </p:spTree>
    <p:extLst>
      <p:ext uri="{BB962C8B-B14F-4D97-AF65-F5344CB8AC3E}">
        <p14:creationId xmlns:p14="http://schemas.microsoft.com/office/powerpoint/2010/main" val="268126632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85900" y="0"/>
            <a:ext cx="6172200" cy="5143500"/>
          </a:xfrm>
          <a:prstGeom prst="rect">
            <a:avLst/>
          </a:prstGeom>
        </p:spPr>
      </p:pic>
    </p:spTree>
    <p:extLst>
      <p:ext uri="{BB962C8B-B14F-4D97-AF65-F5344CB8AC3E}">
        <p14:creationId xmlns:p14="http://schemas.microsoft.com/office/powerpoint/2010/main" val="2404989697"/>
      </p:ext>
    </p:extLst>
  </p:cSld>
  <p:clrMapOvr>
    <a:masterClrMapping/>
  </p:clrMapOvr>
  <p:transition spd="med"/>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25"/>
          <p:cNvSpPr/>
          <p:nvPr/>
        </p:nvSpPr>
        <p:spPr>
          <a:xfrm>
            <a:off x="279946" y="1995964"/>
            <a:ext cx="6873475" cy="5416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80000"/>
              </a:lnSpc>
            </a:pPr>
            <a:r>
              <a:rPr lang="en-US" sz="4400" b="1" dirty="0" err="1" smtClean="0">
                <a:solidFill>
                  <a:srgbClr val="FFFFFF"/>
                </a:solidFill>
              </a:rPr>
              <a:t>BigInsights</a:t>
            </a:r>
            <a:r>
              <a:rPr lang="en-US" sz="4400" b="1" dirty="0" smtClean="0">
                <a:solidFill>
                  <a:srgbClr val="FFFFFF"/>
                </a:solidFill>
              </a:rPr>
              <a:t> on Cloud</a:t>
            </a:r>
            <a:endParaRPr sz="4400" b="1" dirty="0">
              <a:solidFill>
                <a:srgbClr val="FFFFFF"/>
              </a:solidFill>
            </a:endParaRPr>
          </a:p>
        </p:txBody>
      </p:sp>
      <p:sp>
        <p:nvSpPr>
          <p:cNvPr id="8" name="Shape 26"/>
          <p:cNvSpPr/>
          <p:nvPr/>
        </p:nvSpPr>
        <p:spPr>
          <a:xfrm>
            <a:off x="279946" y="1527061"/>
            <a:ext cx="4474409"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a:defRPr sz="1800" spc="0">
                <a:solidFill>
                  <a:srgbClr val="000000"/>
                </a:solidFill>
              </a:defRPr>
            </a:pPr>
            <a:r>
              <a:rPr lang="en-US" sz="2400" dirty="0" smtClean="0"/>
              <a:t>IBM Cloud Data Services</a:t>
            </a:r>
            <a:endParaRPr sz="2400" dirty="0"/>
          </a:p>
        </p:txBody>
      </p:sp>
      <p:sp>
        <p:nvSpPr>
          <p:cNvPr id="6" name="Shape 26"/>
          <p:cNvSpPr/>
          <p:nvPr/>
        </p:nvSpPr>
        <p:spPr>
          <a:xfrm>
            <a:off x="279948" y="4096051"/>
            <a:ext cx="6823760"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a:defRPr sz="1800" spc="0">
                <a:solidFill>
                  <a:srgbClr val="000000"/>
                </a:solidFill>
              </a:defRPr>
            </a:pPr>
            <a:r>
              <a:rPr lang="en-US" sz="1400" b="1" dirty="0" smtClean="0">
                <a:solidFill>
                  <a:srgbClr val="D6EFFB"/>
                </a:solidFill>
              </a:rPr>
              <a:t>Suraj Pandey</a:t>
            </a:r>
          </a:p>
          <a:p>
            <a:pPr>
              <a:defRPr sz="1800" spc="0">
                <a:solidFill>
                  <a:srgbClr val="000000"/>
                </a:solidFill>
              </a:defRPr>
            </a:pPr>
            <a:r>
              <a:rPr lang="en-US" sz="1400" dirty="0" smtClean="0">
                <a:solidFill>
                  <a:srgbClr val="D6EFFB"/>
                </a:solidFill>
              </a:rPr>
              <a:t>Cloud Data Services Technical Lead, </a:t>
            </a:r>
            <a:r>
              <a:rPr lang="en-US" sz="1400" spc="0" dirty="0" smtClean="0">
                <a:solidFill>
                  <a:srgbClr val="D6EFFB"/>
                </a:solidFill>
              </a:rPr>
              <a:t>Australia and New Zealand</a:t>
            </a:r>
            <a:endParaRPr sz="1400" dirty="0">
              <a:solidFill>
                <a:srgbClr val="D6EFFB"/>
              </a:solidFill>
            </a:endParaRPr>
          </a:p>
        </p:txBody>
      </p:sp>
      <p:pic>
        <p:nvPicPr>
          <p:cNvPr id="5" name="Picture 2"/>
          <p:cNvPicPr>
            <a:picLocks noChangeAspect="1" noChangeArrowheads="1"/>
          </p:cNvPicPr>
          <p:nvPr/>
        </p:nvPicPr>
        <p:blipFill>
          <a:blip r:embed="rId2" cstate="print"/>
          <a:srcRect/>
          <a:stretch>
            <a:fillRect/>
          </a:stretch>
        </p:blipFill>
        <p:spPr bwMode="auto">
          <a:xfrm>
            <a:off x="7103708" y="287514"/>
            <a:ext cx="1691111" cy="1003516"/>
          </a:xfrm>
          <a:prstGeom prst="rect">
            <a:avLst/>
          </a:prstGeom>
          <a:noFill/>
          <a:ln w="9525">
            <a:noFill/>
            <a:miter lim="800000"/>
            <a:headEnd/>
            <a:tailEnd/>
          </a:ln>
          <a:effectLst>
            <a:outerShdw blurRad="50800" dist="38100" dir="2700000" algn="tl" rotWithShape="0">
              <a:schemeClr val="tx1">
                <a:alpha val="40000"/>
              </a:schemeClr>
            </a:outerShdw>
          </a:effectLst>
        </p:spPr>
      </p:pic>
    </p:spTree>
    <p:extLst>
      <p:ext uri="{BB962C8B-B14F-4D97-AF65-F5344CB8AC3E}">
        <p14:creationId xmlns:p14="http://schemas.microsoft.com/office/powerpoint/2010/main" val="3101801994"/>
      </p:ext>
    </p:extLst>
  </p:cSld>
  <p:clrMapOvr>
    <a:masterClrMapping/>
  </p:clrMapOvr>
  <p:transition spd="med"/>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t>Agenda</a:t>
            </a:r>
            <a:endParaRPr lang="en-US" sz="2400" b="1" dirty="0"/>
          </a:p>
        </p:txBody>
      </p:sp>
      <p:sp>
        <p:nvSpPr>
          <p:cNvPr id="3" name="Content Placeholder 2"/>
          <p:cNvSpPr>
            <a:spLocks noGrp="1"/>
          </p:cNvSpPr>
          <p:nvPr>
            <p:ph idx="1"/>
          </p:nvPr>
        </p:nvSpPr>
        <p:spPr>
          <a:xfrm>
            <a:off x="266700" y="1470212"/>
            <a:ext cx="8542338" cy="3210646"/>
          </a:xfrm>
        </p:spPr>
        <p:txBody>
          <a:bodyPr/>
          <a:lstStyle/>
          <a:p>
            <a:pPr marL="0" indent="0">
              <a:buNone/>
            </a:pPr>
            <a:endParaRPr lang="en-US" sz="2000" dirty="0" smtClean="0"/>
          </a:p>
          <a:p>
            <a:pPr>
              <a:buFont typeface="Arial" panose="020B0604020202020204" pitchFamily="34" charset="0"/>
              <a:buChar char="•"/>
            </a:pPr>
            <a:r>
              <a:rPr lang="en-US" sz="2000" dirty="0" smtClean="0"/>
              <a:t>IBM and Open Source – </a:t>
            </a:r>
            <a:r>
              <a:rPr lang="en-US" sz="2000" dirty="0" err="1" smtClean="0"/>
              <a:t>Hadoop</a:t>
            </a:r>
            <a:endParaRPr lang="en-US" sz="2000" dirty="0" smtClean="0"/>
          </a:p>
          <a:p>
            <a:pPr>
              <a:buFont typeface="Arial" panose="020B0604020202020204" pitchFamily="34" charset="0"/>
              <a:buChar char="•"/>
            </a:pPr>
            <a:endParaRPr lang="en-US" sz="2000" dirty="0" smtClean="0"/>
          </a:p>
          <a:p>
            <a:pPr>
              <a:buFont typeface="Arial" panose="020B0604020202020204" pitchFamily="34" charset="0"/>
              <a:buChar char="•"/>
            </a:pPr>
            <a:r>
              <a:rPr lang="en-US" sz="2000" dirty="0" smtClean="0"/>
              <a:t>Hadoop as a service – BigInsights on Cloud</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317879989"/>
      </p:ext>
    </p:extLst>
  </p:cSld>
  <p:clrMapOvr>
    <a:masterClrMapping/>
  </p:clrMapOvr>
  <p:transition spd="med"/>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wordle 2.png"/>
          <p:cNvPicPr>
            <a:picLocks noChangeAspect="1"/>
          </p:cNvPicPr>
          <p:nvPr/>
        </p:nvPicPr>
        <p:blipFill>
          <a:blip r:embed="rId2">
            <a:clrChange>
              <a:clrFrom>
                <a:srgbClr val="FFFFFF"/>
              </a:clrFrom>
              <a:clrTo>
                <a:srgbClr val="FFFFFF">
                  <a:alpha val="0"/>
                </a:srgbClr>
              </a:clrTo>
            </a:clrChange>
            <a:duotone>
              <a:prstClr val="black"/>
              <a:schemeClr val="accent3">
                <a:tint val="45000"/>
                <a:satMod val="400000"/>
              </a:schemeClr>
            </a:duotone>
          </a:blip>
          <a:stretch>
            <a:fillRect/>
          </a:stretch>
        </p:blipFill>
        <p:spPr>
          <a:xfrm>
            <a:off x="197224" y="586781"/>
            <a:ext cx="8803341" cy="3969937"/>
          </a:xfrm>
          <a:prstGeom prst="rect">
            <a:avLst/>
          </a:prstGeom>
        </p:spPr>
      </p:pic>
      <p:pic>
        <p:nvPicPr>
          <p:cNvPr id="38918" name="Picture 6" descr="https://sd.keepcalm-o-matic.co.uk/i/keep-calm-ignore-the-hype.png"/>
          <p:cNvPicPr>
            <a:picLocks noChangeAspect="1" noChangeArrowheads="1"/>
          </p:cNvPicPr>
          <p:nvPr/>
        </p:nvPicPr>
        <p:blipFill>
          <a:blip r:embed="rId3"/>
          <a:srcRect/>
          <a:stretch>
            <a:fillRect/>
          </a:stretch>
        </p:blipFill>
        <p:spPr bwMode="auto">
          <a:xfrm>
            <a:off x="2602940" y="286871"/>
            <a:ext cx="3939987" cy="4596651"/>
          </a:xfrm>
          <a:prstGeom prst="rect">
            <a:avLst/>
          </a:prstGeom>
          <a:noFill/>
        </p:spPr>
      </p:pic>
    </p:spTree>
    <p:extLst>
      <p:ext uri="{BB962C8B-B14F-4D97-AF65-F5344CB8AC3E}">
        <p14:creationId xmlns:p14="http://schemas.microsoft.com/office/powerpoint/2010/main" val="2027940197"/>
      </p:ext>
    </p:extLst>
  </p:cSld>
  <p:clrMapOvr>
    <a:masterClrMapping/>
  </p:clrMapOvr>
  <p:transition spd="med"/>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Line 10"/>
          <p:cNvSpPr>
            <a:spLocks noChangeShapeType="1"/>
          </p:cNvSpPr>
          <p:nvPr/>
        </p:nvSpPr>
        <p:spPr bwMode="auto">
          <a:xfrm>
            <a:off x="4572000" y="2661048"/>
            <a:ext cx="0" cy="1621631"/>
          </a:xfrm>
          <a:prstGeom prst="line">
            <a:avLst/>
          </a:prstGeom>
          <a:noFill/>
          <a:ln w="57150">
            <a:solidFill>
              <a:srgbClr val="F4B44C"/>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26" name="Line 10"/>
          <p:cNvSpPr>
            <a:spLocks noChangeShapeType="1"/>
          </p:cNvSpPr>
          <p:nvPr/>
        </p:nvSpPr>
        <p:spPr bwMode="auto">
          <a:xfrm>
            <a:off x="6972300" y="2638427"/>
            <a:ext cx="0" cy="1621631"/>
          </a:xfrm>
          <a:prstGeom prst="line">
            <a:avLst/>
          </a:prstGeom>
          <a:noFill/>
          <a:ln w="57150">
            <a:solidFill>
              <a:srgbClr val="F4B44C"/>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2297" name="Rectangle 2"/>
          <p:cNvSpPr>
            <a:spLocks noGrp="1" noChangeArrowheads="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45720" rIns="91440" bIns="45720" numCol="1" anchor="t" anchorCtr="0" compatLnSpc="1">
            <a:prstTxWarp prst="textNoShape">
              <a:avLst/>
            </a:prstTxWarp>
          </a:bodyPr>
          <a:lstStyle/>
          <a:p>
            <a:r>
              <a:rPr lang="en-US" altLang="en-US" sz="2000" b="1" dirty="0"/>
              <a:t>What is changing in the realm of big data &amp; </a:t>
            </a:r>
            <a:r>
              <a:rPr lang="en-US" altLang="en-US" sz="2000" b="1" dirty="0" smtClean="0"/>
              <a:t>analytics?</a:t>
            </a:r>
            <a:endParaRPr lang="en-US" altLang="en-US" sz="2000" b="1" dirty="0"/>
          </a:p>
        </p:txBody>
      </p:sp>
      <p:sp>
        <p:nvSpPr>
          <p:cNvPr id="12289" name="Line 10"/>
          <p:cNvSpPr>
            <a:spLocks noChangeShapeType="1"/>
          </p:cNvSpPr>
          <p:nvPr/>
        </p:nvSpPr>
        <p:spPr bwMode="auto">
          <a:xfrm>
            <a:off x="2162175" y="2577705"/>
            <a:ext cx="0" cy="1621631"/>
          </a:xfrm>
          <a:prstGeom prst="line">
            <a:avLst/>
          </a:prstGeom>
          <a:noFill/>
          <a:ln w="57150">
            <a:solidFill>
              <a:srgbClr val="F4B44C"/>
            </a:solidFill>
            <a:round/>
            <a:headEnd/>
            <a:tailEnd/>
          </a:ln>
          <a:extLst>
            <a:ext uri="{909E8E84-426E-40DD-AFC4-6F175D3DCCD1}">
              <a14:hiddenFill xmlns:a14="http://schemas.microsoft.com/office/drawing/2010/main">
                <a:noFill/>
              </a14:hiddenFill>
            </a:ext>
          </a:extLst>
        </p:spPr>
        <p:txBody>
          <a:bodyPr/>
          <a:lstStyle/>
          <a:p>
            <a:endParaRPr lang="en-US" sz="1600"/>
          </a:p>
        </p:txBody>
      </p:sp>
      <p:sp>
        <p:nvSpPr>
          <p:cNvPr id="19" name="Round Diagonal Corner Rectangle 18"/>
          <p:cNvSpPr/>
          <p:nvPr/>
        </p:nvSpPr>
        <p:spPr>
          <a:xfrm>
            <a:off x="3480087" y="2947987"/>
            <a:ext cx="2225659" cy="984368"/>
          </a:xfrm>
          <a:prstGeom prst="round2DiagRect">
            <a:avLst/>
          </a:prstGeom>
          <a:solidFill>
            <a:srgbClr val="004370"/>
          </a:solidFill>
          <a:ln w="9525">
            <a:noFill/>
            <a:miter lim="800000"/>
            <a:headEnd/>
            <a:tailEnd/>
          </a:ln>
          <a:effectLst/>
        </p:spPr>
        <p:txBody>
          <a:bodyPr wrap="none" anchor="ctr"/>
          <a:lstStyle/>
          <a:p>
            <a:pPr>
              <a:defRPr/>
            </a:pPr>
            <a:endParaRPr lang="en-US" sz="1200" dirty="0">
              <a:solidFill>
                <a:srgbClr val="0000FF"/>
              </a:solidFill>
              <a:latin typeface="Arial" charset="0"/>
              <a:ea typeface="ＭＳ Ｐゴシック" charset="0"/>
              <a:cs typeface="Arial" pitchFamily="34" charset="0"/>
            </a:endParaRPr>
          </a:p>
        </p:txBody>
      </p:sp>
      <p:sp>
        <p:nvSpPr>
          <p:cNvPr id="20" name="Round Diagonal Corner Rectangle 19"/>
          <p:cNvSpPr/>
          <p:nvPr/>
        </p:nvSpPr>
        <p:spPr>
          <a:xfrm>
            <a:off x="5880869" y="2925366"/>
            <a:ext cx="2225658" cy="991813"/>
          </a:xfrm>
          <a:prstGeom prst="round2DiagRect">
            <a:avLst/>
          </a:prstGeom>
          <a:solidFill>
            <a:srgbClr val="008ABF"/>
          </a:solidFill>
          <a:ln w="9525">
            <a:noFill/>
            <a:miter lim="800000"/>
            <a:headEnd/>
            <a:tailEnd/>
          </a:ln>
          <a:effectLst/>
        </p:spPr>
        <p:txBody>
          <a:bodyPr wrap="none" anchor="ctr"/>
          <a:lstStyle/>
          <a:p>
            <a:pPr>
              <a:defRPr/>
            </a:pPr>
            <a:endParaRPr lang="en-US" sz="1200" dirty="0">
              <a:solidFill>
                <a:srgbClr val="0000FF"/>
              </a:solidFill>
              <a:latin typeface="Arial" charset="0"/>
              <a:ea typeface="ＭＳ Ｐゴシック" charset="0"/>
              <a:cs typeface="Arial" pitchFamily="34" charset="0"/>
            </a:endParaRPr>
          </a:p>
        </p:txBody>
      </p:sp>
      <p:sp>
        <p:nvSpPr>
          <p:cNvPr id="12294" name="Round Diagonal Corner Rectangle 4"/>
          <p:cNvSpPr>
            <a:spLocks/>
          </p:cNvSpPr>
          <p:nvPr/>
        </p:nvSpPr>
        <p:spPr bwMode="auto">
          <a:xfrm>
            <a:off x="1071459" y="2978945"/>
            <a:ext cx="2225658" cy="956072"/>
          </a:xfrm>
          <a:custGeom>
            <a:avLst/>
            <a:gdLst>
              <a:gd name="T0" fmla="*/ 252682 w 2703512"/>
              <a:gd name="T1" fmla="*/ 0 h 1516062"/>
              <a:gd name="T2" fmla="*/ 2703512 w 2703512"/>
              <a:gd name="T3" fmla="*/ 0 h 1516062"/>
              <a:gd name="T4" fmla="*/ 2703512 w 2703512"/>
              <a:gd name="T5" fmla="*/ 0 h 1516062"/>
              <a:gd name="T6" fmla="*/ 2703512 w 2703512"/>
              <a:gd name="T7" fmla="*/ 136 h 1516062"/>
              <a:gd name="T8" fmla="*/ 2450830 w 2703512"/>
              <a:gd name="T9" fmla="*/ 163 h 1516062"/>
              <a:gd name="T10" fmla="*/ 0 w 2703512"/>
              <a:gd name="T11" fmla="*/ 163 h 1516062"/>
              <a:gd name="T12" fmla="*/ 0 w 2703512"/>
              <a:gd name="T13" fmla="*/ 163 h 1516062"/>
              <a:gd name="T14" fmla="*/ 0 w 2703512"/>
              <a:gd name="T15" fmla="*/ 28 h 1516062"/>
              <a:gd name="T16" fmla="*/ 252682 w 2703512"/>
              <a:gd name="T17" fmla="*/ 0 h 15160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03512"/>
              <a:gd name="T28" fmla="*/ 0 h 1516062"/>
              <a:gd name="T29" fmla="*/ 2703512 w 2703512"/>
              <a:gd name="T30" fmla="*/ 1516062 h 15160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03512" h="1516062">
                <a:moveTo>
                  <a:pt x="252682" y="0"/>
                </a:moveTo>
                <a:lnTo>
                  <a:pt x="2703512" y="0"/>
                </a:lnTo>
                <a:lnTo>
                  <a:pt x="2703512" y="1263380"/>
                </a:lnTo>
                <a:cubicBezTo>
                  <a:pt x="2703512" y="1402932"/>
                  <a:pt x="2590382" y="1516062"/>
                  <a:pt x="2450830" y="1516062"/>
                </a:cubicBezTo>
                <a:lnTo>
                  <a:pt x="0" y="1516062"/>
                </a:lnTo>
                <a:lnTo>
                  <a:pt x="0" y="252682"/>
                </a:lnTo>
                <a:cubicBezTo>
                  <a:pt x="0" y="113130"/>
                  <a:pt x="113130" y="0"/>
                  <a:pt x="252682"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p>
            <a:endParaRPr lang="en-US" sz="1600"/>
          </a:p>
        </p:txBody>
      </p:sp>
      <p:sp>
        <p:nvSpPr>
          <p:cNvPr id="12295" name="Oval 2"/>
          <p:cNvSpPr>
            <a:spLocks noChangeArrowheads="1"/>
          </p:cNvSpPr>
          <p:nvPr/>
        </p:nvSpPr>
        <p:spPr bwMode="auto">
          <a:xfrm>
            <a:off x="5939679" y="850106"/>
            <a:ext cx="2123721" cy="1940719"/>
          </a:xfrm>
          <a:prstGeom prst="ellipse">
            <a:avLst/>
          </a:prstGeom>
          <a:solidFill>
            <a:srgbClr val="008ABF"/>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endParaRPr lang="en-US" altLang="en-US" sz="2000">
              <a:solidFill>
                <a:srgbClr val="0000FF"/>
              </a:solidFill>
            </a:endParaRPr>
          </a:p>
        </p:txBody>
      </p:sp>
      <p:sp>
        <p:nvSpPr>
          <p:cNvPr id="12296" name="Oval 2"/>
          <p:cNvSpPr>
            <a:spLocks noChangeArrowheads="1"/>
          </p:cNvSpPr>
          <p:nvPr/>
        </p:nvSpPr>
        <p:spPr bwMode="auto">
          <a:xfrm>
            <a:off x="3538897" y="840583"/>
            <a:ext cx="2123720" cy="1940719"/>
          </a:xfrm>
          <a:prstGeom prst="ellipse">
            <a:avLst/>
          </a:prstGeom>
          <a:solidFill>
            <a:srgbClr val="00437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endParaRPr lang="en-US" altLang="en-US" sz="700" b="1">
              <a:solidFill>
                <a:srgbClr val="252520"/>
              </a:solidFill>
            </a:endParaRPr>
          </a:p>
        </p:txBody>
      </p:sp>
      <p:sp>
        <p:nvSpPr>
          <p:cNvPr id="12298" name="Oval 2"/>
          <p:cNvSpPr>
            <a:spLocks noChangeArrowheads="1"/>
          </p:cNvSpPr>
          <p:nvPr/>
        </p:nvSpPr>
        <p:spPr bwMode="auto">
          <a:xfrm>
            <a:off x="1126349" y="840583"/>
            <a:ext cx="2123720" cy="1940719"/>
          </a:xfrm>
          <a:prstGeom prst="ellipse">
            <a:avLst/>
          </a:prstGeom>
          <a:solidFill>
            <a:srgbClr val="83D1F5"/>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endParaRPr lang="en-US" altLang="en-US" sz="2000">
              <a:solidFill>
                <a:srgbClr val="0000FF"/>
              </a:solidFill>
            </a:endParaRPr>
          </a:p>
        </p:txBody>
      </p:sp>
      <p:sp>
        <p:nvSpPr>
          <p:cNvPr id="12299" name="Text Box 13"/>
          <p:cNvSpPr txBox="1">
            <a:spLocks noChangeArrowheads="1"/>
          </p:cNvSpPr>
          <p:nvPr/>
        </p:nvSpPr>
        <p:spPr bwMode="auto">
          <a:xfrm>
            <a:off x="1041400" y="1600244"/>
            <a:ext cx="2292311" cy="3385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spAutoFit/>
          </a:bodyPr>
          <a:lstStyle>
            <a:lvl1pPr defTabSz="1219200">
              <a:defRPr sz="2400">
                <a:solidFill>
                  <a:schemeClr val="tx1"/>
                </a:solidFill>
                <a:latin typeface="Arial" pitchFamily="34" charset="0"/>
                <a:ea typeface="MS PGothic" pitchFamily="34" charset="-128"/>
              </a:defRPr>
            </a:lvl1pPr>
            <a:lvl2pPr marL="742950" indent="-285750" defTabSz="1219200">
              <a:defRPr sz="2400">
                <a:solidFill>
                  <a:schemeClr val="tx1"/>
                </a:solidFill>
                <a:latin typeface="Arial" pitchFamily="34" charset="0"/>
                <a:ea typeface="MS PGothic" pitchFamily="34" charset="-128"/>
              </a:defRPr>
            </a:lvl2pPr>
            <a:lvl3pPr marL="1143000" indent="-228600" defTabSz="1219200">
              <a:defRPr sz="2400">
                <a:solidFill>
                  <a:schemeClr val="tx1"/>
                </a:solidFill>
                <a:latin typeface="Arial" pitchFamily="34" charset="0"/>
                <a:ea typeface="MS PGothic" pitchFamily="34" charset="-128"/>
              </a:defRPr>
            </a:lvl3pPr>
            <a:lvl4pPr marL="1600200" indent="-228600" defTabSz="1219200">
              <a:defRPr sz="2400">
                <a:solidFill>
                  <a:schemeClr val="tx1"/>
                </a:solidFill>
                <a:latin typeface="Arial" pitchFamily="34" charset="0"/>
                <a:ea typeface="MS PGothic" pitchFamily="34" charset="-128"/>
              </a:defRPr>
            </a:lvl4pPr>
            <a:lvl5pPr marL="2057400" indent="-228600" defTabSz="1219200">
              <a:defRPr sz="2400">
                <a:solidFill>
                  <a:schemeClr val="tx1"/>
                </a:solidFill>
                <a:latin typeface="Arial" pitchFamily="34" charset="0"/>
                <a:ea typeface="MS PGothic" pitchFamily="34" charset="-128"/>
              </a:defRPr>
            </a:lvl5pPr>
            <a:lvl6pPr marL="25146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altLang="en-US" sz="1400" b="1" dirty="0">
                <a:solidFill>
                  <a:srgbClr val="004370"/>
                </a:solidFill>
                <a:ea typeface="ヒラギノ角ゴ Pro W3" charset="-128"/>
              </a:rPr>
              <a:t>Data </a:t>
            </a:r>
            <a:r>
              <a:rPr lang="en-US" altLang="en-US" sz="1400" b="1" dirty="0" smtClean="0">
                <a:solidFill>
                  <a:srgbClr val="004370"/>
                </a:solidFill>
                <a:ea typeface="ヒラギノ角ゴ Pro W3" charset="-128"/>
              </a:rPr>
              <a:t>is the new Oil</a:t>
            </a:r>
            <a:endParaRPr lang="en-US" altLang="en-US" sz="1400" b="1" dirty="0">
              <a:solidFill>
                <a:srgbClr val="004370"/>
              </a:solidFill>
              <a:ea typeface="ヒラギノ角ゴ Pro W3" charset="-128"/>
            </a:endParaRPr>
          </a:p>
        </p:txBody>
      </p:sp>
      <p:sp>
        <p:nvSpPr>
          <p:cNvPr id="12300" name="Text Box 13"/>
          <p:cNvSpPr txBox="1">
            <a:spLocks noChangeArrowheads="1"/>
          </p:cNvSpPr>
          <p:nvPr/>
        </p:nvSpPr>
        <p:spPr bwMode="auto">
          <a:xfrm>
            <a:off x="3639529" y="1334692"/>
            <a:ext cx="1921150" cy="98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spAutoFit/>
          </a:bodyPr>
          <a:lstStyle>
            <a:lvl1pPr defTabSz="1219200">
              <a:defRPr sz="2400">
                <a:solidFill>
                  <a:schemeClr val="tx1"/>
                </a:solidFill>
                <a:latin typeface="Arial" pitchFamily="34" charset="0"/>
                <a:ea typeface="MS PGothic" pitchFamily="34" charset="-128"/>
              </a:defRPr>
            </a:lvl1pPr>
            <a:lvl2pPr marL="742950" indent="-285750" defTabSz="1219200">
              <a:defRPr sz="2400">
                <a:solidFill>
                  <a:schemeClr val="tx1"/>
                </a:solidFill>
                <a:latin typeface="Arial" pitchFamily="34" charset="0"/>
                <a:ea typeface="MS PGothic" pitchFamily="34" charset="-128"/>
              </a:defRPr>
            </a:lvl2pPr>
            <a:lvl3pPr marL="1143000" indent="-228600" defTabSz="1219200">
              <a:defRPr sz="2400">
                <a:solidFill>
                  <a:schemeClr val="tx1"/>
                </a:solidFill>
                <a:latin typeface="Arial" pitchFamily="34" charset="0"/>
                <a:ea typeface="MS PGothic" pitchFamily="34" charset="-128"/>
              </a:defRPr>
            </a:lvl3pPr>
            <a:lvl4pPr marL="1600200" indent="-228600" defTabSz="1219200">
              <a:defRPr sz="2400">
                <a:solidFill>
                  <a:schemeClr val="tx1"/>
                </a:solidFill>
                <a:latin typeface="Arial" pitchFamily="34" charset="0"/>
                <a:ea typeface="MS PGothic" pitchFamily="34" charset="-128"/>
              </a:defRPr>
            </a:lvl4pPr>
            <a:lvl5pPr marL="2057400" indent="-228600" defTabSz="1219200">
              <a:defRPr sz="2400">
                <a:solidFill>
                  <a:schemeClr val="tx1"/>
                </a:solidFill>
                <a:latin typeface="Arial" pitchFamily="34" charset="0"/>
                <a:ea typeface="MS PGothic" pitchFamily="34" charset="-128"/>
              </a:defRPr>
            </a:lvl5pPr>
            <a:lvl6pPr marL="25146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altLang="en-US" sz="1400" b="1" dirty="0">
                <a:solidFill>
                  <a:srgbClr val="FFFFFF"/>
                </a:solidFill>
                <a:ea typeface="ヒラギノ角ゴ Pro W3" charset="-128"/>
              </a:rPr>
              <a:t>Decision-making is moving from the </a:t>
            </a:r>
            <a:br>
              <a:rPr lang="en-US" altLang="en-US" sz="1400" b="1" dirty="0">
                <a:solidFill>
                  <a:srgbClr val="FFFFFF"/>
                </a:solidFill>
                <a:ea typeface="ヒラギノ角ゴ Pro W3" charset="-128"/>
              </a:rPr>
            </a:br>
            <a:r>
              <a:rPr lang="en-US" altLang="en-US" sz="1400" b="1" dirty="0">
                <a:solidFill>
                  <a:srgbClr val="FFFFFF"/>
                </a:solidFill>
                <a:ea typeface="ヒラギノ角ゴ Pro W3" charset="-128"/>
              </a:rPr>
              <a:t>elite few to the empowered many</a:t>
            </a:r>
          </a:p>
        </p:txBody>
      </p:sp>
      <p:sp>
        <p:nvSpPr>
          <p:cNvPr id="12301" name="Text Box 13"/>
          <p:cNvSpPr txBox="1">
            <a:spLocks noChangeArrowheads="1"/>
          </p:cNvSpPr>
          <p:nvPr/>
        </p:nvSpPr>
        <p:spPr bwMode="auto">
          <a:xfrm>
            <a:off x="6041620" y="1334692"/>
            <a:ext cx="1921150" cy="98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899" tIns="60949" rIns="121899" bIns="60949">
            <a:spAutoFit/>
          </a:bodyPr>
          <a:lstStyle>
            <a:lvl1pPr defTabSz="1219200">
              <a:defRPr sz="2400">
                <a:solidFill>
                  <a:schemeClr val="tx1"/>
                </a:solidFill>
                <a:latin typeface="Arial" pitchFamily="34" charset="0"/>
                <a:ea typeface="MS PGothic" pitchFamily="34" charset="-128"/>
              </a:defRPr>
            </a:lvl1pPr>
            <a:lvl2pPr marL="742950" indent="-285750" defTabSz="1219200">
              <a:defRPr sz="2400">
                <a:solidFill>
                  <a:schemeClr val="tx1"/>
                </a:solidFill>
                <a:latin typeface="Arial" pitchFamily="34" charset="0"/>
                <a:ea typeface="MS PGothic" pitchFamily="34" charset="-128"/>
              </a:defRPr>
            </a:lvl2pPr>
            <a:lvl3pPr marL="1143000" indent="-228600" defTabSz="1219200">
              <a:defRPr sz="2400">
                <a:solidFill>
                  <a:schemeClr val="tx1"/>
                </a:solidFill>
                <a:latin typeface="Arial" pitchFamily="34" charset="0"/>
                <a:ea typeface="MS PGothic" pitchFamily="34" charset="-128"/>
              </a:defRPr>
            </a:lvl3pPr>
            <a:lvl4pPr marL="1600200" indent="-228600" defTabSz="1219200">
              <a:defRPr sz="2400">
                <a:solidFill>
                  <a:schemeClr val="tx1"/>
                </a:solidFill>
                <a:latin typeface="Arial" pitchFamily="34" charset="0"/>
                <a:ea typeface="MS PGothic" pitchFamily="34" charset="-128"/>
              </a:defRPr>
            </a:lvl4pPr>
            <a:lvl5pPr marL="2057400" indent="-228600" defTabSz="1219200">
              <a:defRPr sz="2400">
                <a:solidFill>
                  <a:schemeClr val="tx1"/>
                </a:solidFill>
                <a:latin typeface="Arial" pitchFamily="34" charset="0"/>
                <a:ea typeface="MS PGothic" pitchFamily="34" charset="-128"/>
              </a:defRPr>
            </a:lvl5pPr>
            <a:lvl6pPr marL="25146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1219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r>
              <a:rPr lang="en-US" altLang="en-US" sz="1400" b="1" dirty="0">
                <a:solidFill>
                  <a:srgbClr val="FFFFFF"/>
                </a:solidFill>
                <a:ea typeface="ヒラギノ角ゴ Pro W3" charset="-128"/>
              </a:rPr>
              <a:t>As the value of data continues to grow – current systems </a:t>
            </a:r>
            <a:r>
              <a:rPr lang="en-US" altLang="en-US" sz="1400" b="1" dirty="0" smtClean="0">
                <a:solidFill>
                  <a:srgbClr val="FFFFFF"/>
                </a:solidFill>
                <a:ea typeface="ヒラギノ角ゴ Pro W3" charset="-128"/>
              </a:rPr>
              <a:t>can</a:t>
            </a:r>
            <a:r>
              <a:rPr lang="ja-JP" altLang="en-US" sz="1400" b="1" dirty="0">
                <a:solidFill>
                  <a:srgbClr val="FFFFFF"/>
                </a:solidFill>
                <a:ea typeface="ヒラギノ角ゴ Pro W3" charset="-128"/>
              </a:rPr>
              <a:t>’</a:t>
            </a:r>
            <a:r>
              <a:rPr lang="en-US" altLang="ja-JP" sz="1400" b="1" dirty="0">
                <a:solidFill>
                  <a:srgbClr val="FFFFFF"/>
                </a:solidFill>
                <a:ea typeface="ヒラギノ角ゴ Pro W3" charset="-128"/>
              </a:rPr>
              <a:t>t keep pace</a:t>
            </a:r>
            <a:endParaRPr lang="en-US" altLang="en-US" sz="1400" b="1" dirty="0">
              <a:solidFill>
                <a:srgbClr val="FFFFFF"/>
              </a:solidFill>
              <a:ea typeface="ヒラギノ角ゴ Pro W3" charset="-128"/>
            </a:endParaRPr>
          </a:p>
        </p:txBody>
      </p:sp>
      <p:sp>
        <p:nvSpPr>
          <p:cNvPr id="12302" name="Text Box 13"/>
          <p:cNvSpPr txBox="1">
            <a:spLocks noChangeArrowheads="1"/>
          </p:cNvSpPr>
          <p:nvPr/>
        </p:nvSpPr>
        <p:spPr bwMode="auto">
          <a:xfrm>
            <a:off x="1113280" y="2999186"/>
            <a:ext cx="214332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spcAft>
                <a:spcPts val="600"/>
              </a:spcAft>
            </a:pPr>
            <a:r>
              <a:rPr kumimoji="1" lang="en-US" altLang="en-US" sz="1200" b="1" dirty="0">
                <a:solidFill>
                  <a:srgbClr val="004370"/>
                </a:solidFill>
              </a:rPr>
              <a:t>Over 2 billion people (25% of the world’s population) are online</a:t>
            </a:r>
          </a:p>
        </p:txBody>
      </p:sp>
      <p:sp>
        <p:nvSpPr>
          <p:cNvPr id="12303" name="Text Box 22"/>
          <p:cNvSpPr txBox="1">
            <a:spLocks noChangeArrowheads="1"/>
          </p:cNvSpPr>
          <p:nvPr/>
        </p:nvSpPr>
        <p:spPr bwMode="auto">
          <a:xfrm>
            <a:off x="3515374" y="2999186"/>
            <a:ext cx="210803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spcAft>
                <a:spcPts val="600"/>
              </a:spcAft>
            </a:pPr>
            <a:r>
              <a:rPr kumimoji="1" lang="en-US" altLang="en-US" sz="1200" b="1" dirty="0">
                <a:solidFill>
                  <a:srgbClr val="FFFFFF"/>
                </a:solidFill>
              </a:rPr>
              <a:t>Every driver generates 900 rows of data per 15 minute commute</a:t>
            </a:r>
          </a:p>
        </p:txBody>
      </p:sp>
      <p:sp>
        <p:nvSpPr>
          <p:cNvPr id="12304" name="Text Box 26"/>
          <p:cNvSpPr txBox="1">
            <a:spLocks noChangeArrowheads="1"/>
          </p:cNvSpPr>
          <p:nvPr/>
        </p:nvSpPr>
        <p:spPr bwMode="auto">
          <a:xfrm>
            <a:off x="5926611" y="2915843"/>
            <a:ext cx="219821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spcAft>
                <a:spcPts val="600"/>
              </a:spcAft>
            </a:pPr>
            <a:r>
              <a:rPr kumimoji="1" lang="en-US" altLang="en-US" sz="1200" b="1" dirty="0">
                <a:solidFill>
                  <a:srgbClr val="FFFFFF"/>
                </a:solidFill>
              </a:rPr>
              <a:t>Global data center traffic </a:t>
            </a:r>
            <a:br>
              <a:rPr kumimoji="1" lang="en-US" altLang="en-US" sz="1200" b="1" dirty="0">
                <a:solidFill>
                  <a:srgbClr val="FFFFFF"/>
                </a:solidFill>
              </a:rPr>
            </a:br>
            <a:r>
              <a:rPr kumimoji="1" lang="en-US" altLang="en-US" sz="1200" b="1" dirty="0">
                <a:solidFill>
                  <a:srgbClr val="FFFFFF"/>
                </a:solidFill>
              </a:rPr>
              <a:t>will grow at an annual rate of 25% reaching 7.7 </a:t>
            </a:r>
            <a:r>
              <a:rPr kumimoji="1" lang="en-US" altLang="en-US" sz="1200" b="1" dirty="0" err="1">
                <a:solidFill>
                  <a:srgbClr val="FFFFFF"/>
                </a:solidFill>
              </a:rPr>
              <a:t>zettabytes</a:t>
            </a:r>
            <a:r>
              <a:rPr kumimoji="1" lang="en-US" altLang="en-US" sz="1200" b="1" dirty="0">
                <a:solidFill>
                  <a:srgbClr val="FFFFFF"/>
                </a:solidFill>
              </a:rPr>
              <a:t> by end of 2017</a:t>
            </a:r>
          </a:p>
        </p:txBody>
      </p:sp>
      <p:sp>
        <p:nvSpPr>
          <p:cNvPr id="12305" name="TextBox 7"/>
          <p:cNvSpPr txBox="1">
            <a:spLocks noChangeArrowheads="1"/>
          </p:cNvSpPr>
          <p:nvPr/>
        </p:nvSpPr>
        <p:spPr bwMode="auto">
          <a:xfrm>
            <a:off x="5891325" y="3694511"/>
            <a:ext cx="226857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kumimoji="1" lang="en-US" altLang="en-US" sz="900" b="1" i="1" dirty="0">
                <a:solidFill>
                  <a:srgbClr val="FFFFFF"/>
                </a:solidFill>
              </a:rPr>
              <a:t>Cisco Global Cloud Index: 2012 - 2017</a:t>
            </a:r>
          </a:p>
        </p:txBody>
      </p:sp>
      <p:sp>
        <p:nvSpPr>
          <p:cNvPr id="12306" name="TextBox 7"/>
          <p:cNvSpPr txBox="1">
            <a:spLocks noChangeArrowheads="1"/>
          </p:cNvSpPr>
          <p:nvPr/>
        </p:nvSpPr>
        <p:spPr bwMode="auto">
          <a:xfrm>
            <a:off x="3497075" y="3694511"/>
            <a:ext cx="1576072"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kumimoji="1" lang="en-US" altLang="en-US" sz="900" b="1" i="1" u="sng">
                <a:solidFill>
                  <a:srgbClr val="FFFFFF"/>
                </a:solidFill>
              </a:rPr>
              <a:t>Directline Insurance 2013</a:t>
            </a:r>
          </a:p>
        </p:txBody>
      </p:sp>
      <p:sp>
        <p:nvSpPr>
          <p:cNvPr id="12307" name="TextBox 7"/>
          <p:cNvSpPr txBox="1">
            <a:spLocks noChangeArrowheads="1"/>
          </p:cNvSpPr>
          <p:nvPr/>
        </p:nvSpPr>
        <p:spPr bwMode="auto">
          <a:xfrm>
            <a:off x="1071461" y="3664745"/>
            <a:ext cx="6014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r>
              <a:rPr kumimoji="1" lang="en-US" altLang="en-US" sz="900" b="1" i="1" u="sng" dirty="0">
                <a:solidFill>
                  <a:srgbClr val="FFFFFF"/>
                </a:solidFill>
              </a:rPr>
              <a:t>Gartner</a:t>
            </a:r>
          </a:p>
        </p:txBody>
      </p:sp>
      <p:sp>
        <p:nvSpPr>
          <p:cNvPr id="2" name="Round Diagonal Corner Rectangle 18"/>
          <p:cNvSpPr/>
          <p:nvPr/>
        </p:nvSpPr>
        <p:spPr>
          <a:xfrm>
            <a:off x="1076688" y="4058842"/>
            <a:ext cx="6990633" cy="787003"/>
          </a:xfrm>
          <a:prstGeom prst="round2DiagRect">
            <a:avLst/>
          </a:prstGeom>
          <a:solidFill>
            <a:srgbClr val="004370"/>
          </a:solidFill>
          <a:ln w="9525">
            <a:noFill/>
            <a:miter lim="800000"/>
            <a:headEnd/>
            <a:tailEnd/>
          </a:ln>
          <a:effectLst/>
        </p:spPr>
        <p:txBody>
          <a:bodyPr wrap="none" anchor="ctr"/>
          <a:lstStyle/>
          <a:p>
            <a:pPr>
              <a:defRPr/>
            </a:pPr>
            <a:endParaRPr lang="en-US" sz="1200" dirty="0">
              <a:solidFill>
                <a:srgbClr val="0000FF"/>
              </a:solidFill>
              <a:latin typeface="Arial" charset="0"/>
              <a:ea typeface="ＭＳ Ｐゴシック" charset="0"/>
              <a:cs typeface="Arial" pitchFamily="34" charset="0"/>
            </a:endParaRPr>
          </a:p>
        </p:txBody>
      </p:sp>
      <p:sp>
        <p:nvSpPr>
          <p:cNvPr id="12309" name="Text Box 22"/>
          <p:cNvSpPr txBox="1">
            <a:spLocks noChangeArrowheads="1"/>
          </p:cNvSpPr>
          <p:nvPr/>
        </p:nvSpPr>
        <p:spPr bwMode="auto">
          <a:xfrm>
            <a:off x="1304088" y="4170760"/>
            <a:ext cx="657634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a:spcAft>
                <a:spcPts val="600"/>
              </a:spcAft>
            </a:pPr>
            <a:r>
              <a:rPr kumimoji="1" lang="en-US" altLang="en-US" sz="1800" b="1" dirty="0">
                <a:solidFill>
                  <a:srgbClr val="FFFF00"/>
                </a:solidFill>
              </a:rPr>
              <a:t>Hadoop </a:t>
            </a:r>
            <a:r>
              <a:rPr kumimoji="1" lang="en-US" altLang="en-US" sz="1800" b="1" dirty="0" smtClean="0">
                <a:solidFill>
                  <a:srgbClr val="FFFF00"/>
                </a:solidFill>
              </a:rPr>
              <a:t>has become the way </a:t>
            </a:r>
            <a:r>
              <a:rPr kumimoji="1" lang="en-US" altLang="en-US" sz="1800" b="1" dirty="0">
                <a:solidFill>
                  <a:srgbClr val="FFFF00"/>
                </a:solidFill>
              </a:rPr>
              <a:t>to store massive volumes of information and perform analytics on a wider set of data </a:t>
            </a:r>
          </a:p>
        </p:txBody>
      </p:sp>
    </p:spTree>
    <p:extLst>
      <p:ext uri="{BB962C8B-B14F-4D97-AF65-F5344CB8AC3E}">
        <p14:creationId xmlns:p14="http://schemas.microsoft.com/office/powerpoint/2010/main" val="2619333308"/>
      </p:ext>
    </p:extLst>
  </p:cSld>
  <p:clrMapOvr>
    <a:masterClrMapping/>
  </p:clrMapOvr>
  <p:transition spd="med"/>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65113" y="240574"/>
            <a:ext cx="8545512" cy="753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45720" rIns="91440" bIns="45720" numCol="1" anchor="t" anchorCtr="0" compatLnSpc="1">
            <a:prstTxWarp prst="textNoShape">
              <a:avLst/>
            </a:prstTxWarp>
          </a:bodyPr>
          <a:lstStyle>
            <a:lvl1pPr eaLnBrk="0" hangingPunct="0">
              <a:defRPr sz="2800" b="1">
                <a:latin typeface="+mj-lt"/>
                <a:ea typeface="+mj-ea"/>
                <a:cs typeface="ＭＳ Ｐゴシック" charset="0"/>
              </a:defRPr>
            </a:lvl1pPr>
            <a:lvl2pPr eaLnBrk="0" hangingPunct="0">
              <a:defRPr sz="2200">
                <a:latin typeface="Arial" charset="0"/>
                <a:ea typeface="ＭＳ Ｐゴシック" charset="0"/>
                <a:cs typeface="ＭＳ Ｐゴシック" charset="0"/>
              </a:defRPr>
            </a:lvl2pPr>
            <a:lvl3pPr eaLnBrk="0" hangingPunct="0">
              <a:defRPr sz="2200">
                <a:latin typeface="Arial" charset="0"/>
                <a:ea typeface="ＭＳ Ｐゴシック" charset="0"/>
                <a:cs typeface="ＭＳ Ｐゴシック" charset="0"/>
              </a:defRPr>
            </a:lvl3pPr>
            <a:lvl4pPr eaLnBrk="0" hangingPunct="0">
              <a:defRPr sz="2200">
                <a:latin typeface="Arial" charset="0"/>
                <a:ea typeface="ＭＳ Ｐゴシック" charset="0"/>
                <a:cs typeface="ＭＳ Ｐゴシック" charset="0"/>
              </a:defRPr>
            </a:lvl4pPr>
            <a:lvl5pPr eaLnBrk="0" hangingPunct="0">
              <a:defRPr sz="2200">
                <a:latin typeface="Arial" charset="0"/>
                <a:ea typeface="ＭＳ Ｐゴシック" charset="0"/>
                <a:cs typeface="ＭＳ Ｐゴシック" charset="0"/>
              </a:defRPr>
            </a:lvl5pPr>
            <a:lvl6pPr marL="457200" fontAlgn="base">
              <a:spcBef>
                <a:spcPct val="0"/>
              </a:spcBef>
              <a:spcAft>
                <a:spcPct val="0"/>
              </a:spcAft>
              <a:defRPr sz="2200">
                <a:latin typeface="Arial" charset="0"/>
                <a:ea typeface="ＭＳ Ｐゴシック" charset="0"/>
              </a:defRPr>
            </a:lvl6pPr>
            <a:lvl7pPr marL="914400" fontAlgn="base">
              <a:spcBef>
                <a:spcPct val="0"/>
              </a:spcBef>
              <a:spcAft>
                <a:spcPct val="0"/>
              </a:spcAft>
              <a:defRPr sz="2200">
                <a:latin typeface="Arial" charset="0"/>
                <a:ea typeface="ＭＳ Ｐゴシック" charset="0"/>
              </a:defRPr>
            </a:lvl7pPr>
            <a:lvl8pPr marL="1371600" fontAlgn="base">
              <a:spcBef>
                <a:spcPct val="0"/>
              </a:spcBef>
              <a:spcAft>
                <a:spcPct val="0"/>
              </a:spcAft>
              <a:defRPr sz="2200">
                <a:latin typeface="Arial" charset="0"/>
                <a:ea typeface="ＭＳ Ｐゴシック" charset="0"/>
              </a:defRPr>
            </a:lvl8pPr>
            <a:lvl9pPr marL="1828800" fontAlgn="base">
              <a:spcBef>
                <a:spcPct val="0"/>
              </a:spcBef>
              <a:spcAft>
                <a:spcPct val="0"/>
              </a:spcAft>
              <a:defRPr sz="2200">
                <a:latin typeface="Arial" charset="0"/>
                <a:ea typeface="ＭＳ Ｐゴシック" charset="0"/>
              </a:defRPr>
            </a:lvl9pPr>
          </a:lstStyle>
          <a:p>
            <a:endParaRPr lang="en-US" altLang="en-US" dirty="0"/>
          </a:p>
        </p:txBody>
      </p:sp>
      <p:graphicFrame>
        <p:nvGraphicFramePr>
          <p:cNvPr id="3" name="Diagram 2"/>
          <p:cNvGraphicFramePr/>
          <p:nvPr>
            <p:extLst/>
          </p:nvPr>
        </p:nvGraphicFramePr>
        <p:xfrm>
          <a:off x="160718" y="982911"/>
          <a:ext cx="3613265" cy="11981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4"/>
          <p:cNvSpPr txBox="1">
            <a:spLocks noChangeArrowheads="1"/>
          </p:cNvSpPr>
          <p:nvPr/>
        </p:nvSpPr>
        <p:spPr bwMode="auto">
          <a:xfrm>
            <a:off x="3989388" y="1266826"/>
            <a:ext cx="492601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r>
              <a:rPr lang="en-US" altLang="en-US" i="1">
                <a:solidFill>
                  <a:srgbClr val="000000"/>
                </a:solidFill>
              </a:rPr>
              <a:t>Data access for the developer expanding to data insight for the scientist</a:t>
            </a:r>
          </a:p>
        </p:txBody>
      </p:sp>
      <p:graphicFrame>
        <p:nvGraphicFramePr>
          <p:cNvPr id="5" name="Diagram 4"/>
          <p:cNvGraphicFramePr/>
          <p:nvPr/>
        </p:nvGraphicFramePr>
        <p:xfrm>
          <a:off x="160718" y="2248004"/>
          <a:ext cx="3613265" cy="119814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6" name="TextBox 7"/>
          <p:cNvSpPr txBox="1">
            <a:spLocks noChangeArrowheads="1"/>
          </p:cNvSpPr>
          <p:nvPr/>
        </p:nvSpPr>
        <p:spPr bwMode="auto">
          <a:xfrm>
            <a:off x="3989388" y="2544367"/>
            <a:ext cx="4622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r>
              <a:rPr lang="en-US" altLang="en-US" i="1" dirty="0">
                <a:solidFill>
                  <a:srgbClr val="000000"/>
                </a:solidFill>
              </a:rPr>
              <a:t>Promising technology is now transforming business strategy</a:t>
            </a:r>
          </a:p>
        </p:txBody>
      </p:sp>
      <p:graphicFrame>
        <p:nvGraphicFramePr>
          <p:cNvPr id="7" name="Diagram 6"/>
          <p:cNvGraphicFramePr/>
          <p:nvPr/>
        </p:nvGraphicFramePr>
        <p:xfrm>
          <a:off x="160718" y="3488159"/>
          <a:ext cx="3613265" cy="119814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8" name="TextBox 10"/>
          <p:cNvSpPr txBox="1">
            <a:spLocks noChangeArrowheads="1"/>
          </p:cNvSpPr>
          <p:nvPr/>
        </p:nvSpPr>
        <p:spPr bwMode="auto">
          <a:xfrm>
            <a:off x="4338641" y="3117056"/>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endParaRPr lang="en-US" altLang="en-US">
              <a:solidFill>
                <a:srgbClr val="000000"/>
              </a:solidFill>
            </a:endParaRPr>
          </a:p>
        </p:txBody>
      </p:sp>
      <p:sp>
        <p:nvSpPr>
          <p:cNvPr id="9" name="TextBox 11"/>
          <p:cNvSpPr txBox="1">
            <a:spLocks noChangeArrowheads="1"/>
          </p:cNvSpPr>
          <p:nvPr/>
        </p:nvSpPr>
        <p:spPr bwMode="auto">
          <a:xfrm>
            <a:off x="3989388" y="3775473"/>
            <a:ext cx="46228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r>
              <a:rPr lang="en-US" altLang="en-US" i="1" dirty="0">
                <a:solidFill>
                  <a:srgbClr val="000000"/>
                </a:solidFill>
              </a:rPr>
              <a:t>Industry shifting  to an open </a:t>
            </a:r>
            <a:r>
              <a:rPr lang="en-US" altLang="en-US" i="1" u="sng" dirty="0">
                <a:solidFill>
                  <a:srgbClr val="000000"/>
                </a:solidFill>
              </a:rPr>
              <a:t>and consistent</a:t>
            </a:r>
            <a:r>
              <a:rPr lang="en-US" altLang="en-US" i="1" dirty="0">
                <a:solidFill>
                  <a:srgbClr val="000000"/>
                </a:solidFill>
              </a:rPr>
              <a:t> platform to drive innovation for all</a:t>
            </a:r>
          </a:p>
        </p:txBody>
      </p:sp>
      <p:sp>
        <p:nvSpPr>
          <p:cNvPr id="10" name="Title 9"/>
          <p:cNvSpPr>
            <a:spLocks noGrp="1"/>
          </p:cNvSpPr>
          <p:nvPr>
            <p:ph type="title"/>
          </p:nvPr>
        </p:nvSpPr>
        <p:spPr/>
        <p:txBody>
          <a:bodyPr/>
          <a:lstStyle/>
          <a:p>
            <a:r>
              <a:rPr lang="en-US" altLang="en-US" dirty="0" smtClean="0"/>
              <a:t>The Hadoop Market is Evolving Rapidly</a:t>
            </a:r>
            <a:endParaRPr lang="en-AU" dirty="0"/>
          </a:p>
        </p:txBody>
      </p:sp>
    </p:spTree>
    <p:extLst>
      <p:ext uri="{BB962C8B-B14F-4D97-AF65-F5344CB8AC3E}">
        <p14:creationId xmlns:p14="http://schemas.microsoft.com/office/powerpoint/2010/main" val="796697224"/>
      </p:ext>
    </p:extLst>
  </p:cSld>
  <p:clrMapOvr>
    <a:masterClrMapping/>
  </p:clrMapOvr>
  <p:transition spd="med"/>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288256"/>
            <a:ext cx="9144000" cy="3855244"/>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pic>
        <p:nvPicPr>
          <p:cNvPr id="10242" name="Picture 6"/>
          <p:cNvPicPr>
            <a:picLocks noChangeAspect="1"/>
          </p:cNvPicPr>
          <p:nvPr/>
        </p:nvPicPr>
        <p:blipFill rotWithShape="1">
          <a:blip r:embed="rId3" cstate="print">
            <a:extLst>
              <a:ext uri="{28A0092B-C50C-407E-A947-70E740481C1C}">
                <a14:useLocalDpi xmlns:a14="http://schemas.microsoft.com/office/drawing/2010/main"/>
              </a:ext>
            </a:extLst>
          </a:blip>
          <a:srcRect l="-13543" b="-307"/>
          <a:stretch/>
        </p:blipFill>
        <p:spPr bwMode="auto">
          <a:xfrm>
            <a:off x="-415598" y="1288255"/>
            <a:ext cx="5803144" cy="3920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3" name="TextBox 17"/>
          <p:cNvSpPr txBox="1">
            <a:spLocks noChangeArrowheads="1"/>
          </p:cNvSpPr>
          <p:nvPr/>
        </p:nvSpPr>
        <p:spPr bwMode="auto">
          <a:xfrm>
            <a:off x="996950" y="1569244"/>
            <a:ext cx="4002088" cy="433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rIns="182880">
            <a:spAutoFit/>
          </a:bodyPr>
          <a:lstStyle>
            <a:lvl1pPr>
              <a:defRPr sz="2400">
                <a:solidFill>
                  <a:schemeClr val="tx1"/>
                </a:solidFill>
                <a:latin typeface="Arial" charset="0"/>
                <a:ea typeface="MS PGothic" charset="0"/>
                <a:cs typeface="MS PGothic" charset="0"/>
              </a:defRPr>
            </a:lvl1pPr>
            <a:lvl2pPr marL="742950" indent="-285750">
              <a:defRPr sz="2400">
                <a:solidFill>
                  <a:schemeClr val="tx1"/>
                </a:solidFill>
                <a:latin typeface="Arial" charset="0"/>
                <a:ea typeface="MS PGothic" charset="0"/>
                <a:cs typeface="MS PGothic" charset="0"/>
              </a:defRPr>
            </a:lvl2pPr>
            <a:lvl3pPr marL="1143000" indent="-228600">
              <a:defRPr sz="2400">
                <a:solidFill>
                  <a:schemeClr val="tx1"/>
                </a:solidFill>
                <a:latin typeface="Arial" charset="0"/>
                <a:ea typeface="MS PGothic" charset="0"/>
                <a:cs typeface="MS PGothic" charset="0"/>
              </a:defRPr>
            </a:lvl3pPr>
            <a:lvl4pPr marL="1600200" indent="-228600">
              <a:defRPr sz="2400">
                <a:solidFill>
                  <a:schemeClr val="tx1"/>
                </a:solidFill>
                <a:latin typeface="Arial" charset="0"/>
                <a:ea typeface="MS PGothic" charset="0"/>
                <a:cs typeface="MS PGothic" charset="0"/>
              </a:defRPr>
            </a:lvl4pPr>
            <a:lvl5pPr marL="2057400" indent="-228600">
              <a:defRPr sz="24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Arial" charset="0"/>
                <a:ea typeface="MS PGothic" charset="0"/>
                <a:cs typeface="MS PGothic" charset="0"/>
              </a:defRPr>
            </a:lvl9pPr>
          </a:lstStyle>
          <a:p>
            <a:pPr>
              <a:lnSpc>
                <a:spcPct val="90000"/>
              </a:lnSpc>
              <a:buFont typeface="Wingdings" charset="0"/>
              <a:buNone/>
            </a:pPr>
            <a:r>
              <a:rPr lang="en-US" sz="2800">
                <a:solidFill>
                  <a:srgbClr val="000000"/>
                </a:solidFill>
                <a:latin typeface="Lubalin Demi for IBM" charset="0"/>
              </a:rPr>
              <a:t>Powerful DBaaS</a:t>
            </a:r>
          </a:p>
        </p:txBody>
      </p:sp>
      <p:sp>
        <p:nvSpPr>
          <p:cNvPr id="10244" name="Rectangle 92"/>
          <p:cNvSpPr>
            <a:spLocks noChangeArrowheads="1"/>
          </p:cNvSpPr>
          <p:nvPr/>
        </p:nvSpPr>
        <p:spPr bwMode="auto">
          <a:xfrm>
            <a:off x="4881562" y="1654778"/>
            <a:ext cx="4103688" cy="315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marL="285750" indent="-285750">
              <a:lnSpc>
                <a:spcPct val="130000"/>
              </a:lnSpc>
              <a:spcAft>
                <a:spcPts val="188"/>
              </a:spcAft>
              <a:buClr>
                <a:srgbClr val="FFFFFF"/>
              </a:buClr>
              <a:buFont typeface="Wingdings" charset="2"/>
              <a:buChar char="§"/>
            </a:pPr>
            <a:r>
              <a:rPr lang="en-US" sz="1400" b="1" dirty="0">
                <a:solidFill>
                  <a:srgbClr val="FEC82E"/>
                </a:solidFill>
                <a:latin typeface="Helvetica Neue Light" charset="0"/>
                <a:ea typeface="Helvetica Neue Light" charset="0"/>
                <a:cs typeface="Helvetica Neue Light" charset="0"/>
              </a:rPr>
              <a:t>Certify</a:t>
            </a:r>
            <a:r>
              <a:rPr lang="en-US" sz="1400" dirty="0">
                <a:solidFill>
                  <a:srgbClr val="FEC82E"/>
                </a:solidFill>
                <a:latin typeface="Helvetica Neue Light" charset="0"/>
                <a:ea typeface="Helvetica Neue Light" charset="0"/>
                <a:cs typeface="Helvetica Neue Light" charset="0"/>
              </a:rPr>
              <a:t> </a:t>
            </a:r>
            <a:r>
              <a:rPr lang="en-US" sz="1400" dirty="0">
                <a:solidFill>
                  <a:srgbClr val="FFFFFF"/>
                </a:solidFill>
                <a:latin typeface="Helvetica Neue Light" charset="0"/>
                <a:ea typeface="Helvetica Neue Light" charset="0"/>
                <a:cs typeface="Helvetica Neue Light" charset="0"/>
              </a:rPr>
              <a:t>a standard “ODP Core” set of open source Hadoop family </a:t>
            </a:r>
            <a:r>
              <a:rPr lang="en-US" sz="1400" dirty="0" smtClean="0">
                <a:solidFill>
                  <a:srgbClr val="FFFFFF"/>
                </a:solidFill>
                <a:latin typeface="Helvetica Neue Light" charset="0"/>
                <a:ea typeface="Helvetica Neue Light" charset="0"/>
                <a:cs typeface="Helvetica Neue Light" charset="0"/>
              </a:rPr>
              <a:t>projects with specific </a:t>
            </a:r>
            <a:r>
              <a:rPr lang="en-US" sz="1400" dirty="0">
                <a:solidFill>
                  <a:srgbClr val="FFFFFF"/>
                </a:solidFill>
                <a:latin typeface="Helvetica Neue Light" charset="0"/>
                <a:ea typeface="Helvetica Neue Light" charset="0"/>
                <a:cs typeface="Helvetica Neue Light" charset="0"/>
              </a:rPr>
              <a:t>versions and patch </a:t>
            </a:r>
            <a:r>
              <a:rPr lang="en-US" sz="1400" dirty="0" smtClean="0">
                <a:solidFill>
                  <a:srgbClr val="FFFFFF"/>
                </a:solidFill>
                <a:latin typeface="Helvetica Neue Light" charset="0"/>
                <a:ea typeface="Helvetica Neue Light" charset="0"/>
                <a:cs typeface="Helvetica Neue Light" charset="0"/>
              </a:rPr>
              <a:t>levels</a:t>
            </a:r>
          </a:p>
          <a:p>
            <a:pPr marL="285750" indent="-285750">
              <a:lnSpc>
                <a:spcPct val="130000"/>
              </a:lnSpc>
              <a:spcAft>
                <a:spcPts val="188"/>
              </a:spcAft>
              <a:buFont typeface="Wingdings" charset="2"/>
              <a:buChar char="§"/>
            </a:pPr>
            <a:endParaRPr lang="en-US" sz="1400" dirty="0" smtClean="0">
              <a:solidFill>
                <a:srgbClr val="FFFFFF"/>
              </a:solidFill>
              <a:latin typeface="Helvetica Neue Light" charset="0"/>
              <a:ea typeface="Helvetica Neue Light" charset="0"/>
              <a:cs typeface="Helvetica Neue Light" charset="0"/>
            </a:endParaRPr>
          </a:p>
          <a:p>
            <a:pPr marL="285750" indent="-285750">
              <a:lnSpc>
                <a:spcPct val="130000"/>
              </a:lnSpc>
              <a:spcAft>
                <a:spcPts val="188"/>
              </a:spcAft>
              <a:buClr>
                <a:srgbClr val="FFFFFF"/>
              </a:buClr>
              <a:buFont typeface="Wingdings" charset="2"/>
              <a:buChar char="§"/>
            </a:pPr>
            <a:r>
              <a:rPr lang="en-US" sz="1400" b="1" dirty="0" smtClean="0">
                <a:solidFill>
                  <a:srgbClr val="FEC82E"/>
                </a:solidFill>
                <a:latin typeface="Helvetica Neue Light" charset="0"/>
                <a:ea typeface="Helvetica Neue Light" charset="0"/>
                <a:cs typeface="Helvetica Neue Light" charset="0"/>
              </a:rPr>
              <a:t>Develop</a:t>
            </a:r>
            <a:r>
              <a:rPr lang="en-US" sz="1400" dirty="0" smtClean="0">
                <a:solidFill>
                  <a:srgbClr val="FEC82E"/>
                </a:solidFill>
                <a:latin typeface="Helvetica Neue Light" charset="0"/>
                <a:ea typeface="Helvetica Neue Light" charset="0"/>
                <a:cs typeface="Helvetica Neue Light" charset="0"/>
              </a:rPr>
              <a:t> </a:t>
            </a:r>
            <a:r>
              <a:rPr lang="en-US" sz="1400" dirty="0">
                <a:solidFill>
                  <a:srgbClr val="FFFFFF"/>
                </a:solidFill>
                <a:latin typeface="Helvetica Neue Light" charset="0"/>
                <a:ea typeface="Helvetica Neue Light" charset="0"/>
                <a:cs typeface="Helvetica Neue Light" charset="0"/>
              </a:rPr>
              <a:t>tools and methods to help solution providers to test applications against the ODP </a:t>
            </a:r>
            <a:r>
              <a:rPr lang="en-US" sz="1400" dirty="0" smtClean="0">
                <a:solidFill>
                  <a:srgbClr val="FFFFFF"/>
                </a:solidFill>
                <a:latin typeface="Helvetica Neue Light" charset="0"/>
                <a:ea typeface="Helvetica Neue Light" charset="0"/>
                <a:cs typeface="Helvetica Neue Light" charset="0"/>
              </a:rPr>
              <a:t>Core</a:t>
            </a:r>
          </a:p>
          <a:p>
            <a:pPr marL="285750" indent="-285750">
              <a:lnSpc>
                <a:spcPct val="130000"/>
              </a:lnSpc>
              <a:spcAft>
                <a:spcPts val="188"/>
              </a:spcAft>
              <a:buFont typeface="Wingdings" charset="2"/>
              <a:buChar char="§"/>
            </a:pPr>
            <a:endParaRPr lang="en-US" sz="1400" dirty="0" smtClean="0">
              <a:solidFill>
                <a:srgbClr val="FFFFFF"/>
              </a:solidFill>
              <a:latin typeface="Helvetica Neue Light" charset="0"/>
              <a:ea typeface="Helvetica Neue Light" charset="0"/>
              <a:cs typeface="Helvetica Neue Light" charset="0"/>
            </a:endParaRPr>
          </a:p>
          <a:p>
            <a:pPr marL="285750" indent="-285750">
              <a:lnSpc>
                <a:spcPct val="130000"/>
              </a:lnSpc>
              <a:spcAft>
                <a:spcPts val="188"/>
              </a:spcAft>
              <a:buClr>
                <a:srgbClr val="FFFFFF"/>
              </a:buClr>
              <a:buFont typeface="Wingdings" charset="2"/>
              <a:buChar char="§"/>
            </a:pPr>
            <a:r>
              <a:rPr lang="en-US" sz="1400" b="1" dirty="0" smtClean="0">
                <a:solidFill>
                  <a:srgbClr val="FEC82E"/>
                </a:solidFill>
                <a:latin typeface="Helvetica Neue Light" charset="0"/>
                <a:ea typeface="Helvetica Neue Light" charset="0"/>
                <a:cs typeface="Helvetica Neue Light" charset="0"/>
              </a:rPr>
              <a:t>Contribute</a:t>
            </a:r>
            <a:r>
              <a:rPr lang="en-US" sz="1400" dirty="0" smtClean="0">
                <a:solidFill>
                  <a:srgbClr val="FEC82E"/>
                </a:solidFill>
                <a:latin typeface="Helvetica Neue Light" charset="0"/>
                <a:ea typeface="Helvetica Neue Light" charset="0"/>
                <a:cs typeface="Helvetica Neue Light" charset="0"/>
              </a:rPr>
              <a:t> </a:t>
            </a:r>
            <a:r>
              <a:rPr lang="en-US" sz="1400" dirty="0">
                <a:solidFill>
                  <a:srgbClr val="FFFFFF"/>
                </a:solidFill>
                <a:latin typeface="Helvetica Neue Light" charset="0"/>
                <a:ea typeface="Helvetica Neue Light" charset="0"/>
                <a:cs typeface="Helvetica Neue Light" charset="0"/>
              </a:rPr>
              <a:t>changes and fixes in the ODP Core Hadoop family projects to the ASF using the ASF </a:t>
            </a:r>
            <a:r>
              <a:rPr lang="en-US" sz="1400" dirty="0" smtClean="0">
                <a:solidFill>
                  <a:srgbClr val="FFFFFF"/>
                </a:solidFill>
                <a:latin typeface="Helvetica Neue Light" charset="0"/>
                <a:ea typeface="Helvetica Neue Light" charset="0"/>
                <a:cs typeface="Helvetica Neue Light" charset="0"/>
              </a:rPr>
              <a:t>processes</a:t>
            </a:r>
            <a:endParaRPr lang="en-US" sz="1400" dirty="0">
              <a:solidFill>
                <a:srgbClr val="FFFFFF"/>
              </a:solidFill>
              <a:latin typeface="Helvetica Neue Light" charset="0"/>
              <a:ea typeface="Helvetica Neue Light" charset="0"/>
              <a:cs typeface="Helvetica Neue Light" charset="0"/>
            </a:endParaRPr>
          </a:p>
        </p:txBody>
      </p:sp>
      <p:pic>
        <p:nvPicPr>
          <p:cNvPr id="10245" name="Picture 2" descr="C:\Users\IBM_ADMIN\Desktop\IBM GRAPHICS\Events\Interconnect\2015\Presentations\0115 Keynotes\Big Data\supprt\hex-b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1289448"/>
            <a:ext cx="4654550" cy="38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Title 2"/>
          <p:cNvSpPr>
            <a:spLocks noGrp="1"/>
          </p:cNvSpPr>
          <p:nvPr>
            <p:ph type="title"/>
          </p:nvPr>
        </p:nvSpPr>
        <p:spPr/>
        <p:txBody>
          <a:bodyPr/>
          <a:lstStyle/>
          <a:p>
            <a:r>
              <a:rPr lang="en-US" dirty="0" smtClean="0"/>
              <a:t>Open Data Platform Initiative (</a:t>
            </a:r>
            <a:r>
              <a:rPr lang="en-US" dirty="0" err="1" smtClean="0"/>
              <a:t>ODPi</a:t>
            </a:r>
            <a:r>
              <a:rPr lang="en-US" dirty="0" smtClean="0"/>
              <a:t>)</a:t>
            </a:r>
            <a:endParaRPr lang="en-US" dirty="0"/>
          </a:p>
        </p:txBody>
      </p:sp>
      <p:sp>
        <p:nvSpPr>
          <p:cNvPr id="3" name="Rectangle 2"/>
          <p:cNvSpPr/>
          <p:nvPr/>
        </p:nvSpPr>
        <p:spPr bwMode="auto">
          <a:xfrm>
            <a:off x="0" y="4709832"/>
            <a:ext cx="1317812" cy="433668"/>
          </a:xfrm>
          <a:prstGeom prst="rect">
            <a:avLst/>
          </a:prstGeom>
          <a:solidFill>
            <a:schemeClr val="bg1"/>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l" defTabSz="914400" rtl="0" fontAlgn="base">
              <a:spcBef>
                <a:spcPct val="0"/>
              </a:spcBef>
              <a:spcAft>
                <a:spcPct val="0"/>
              </a:spcAft>
            </a:pPr>
            <a:endParaRPr lang="en-US" sz="1600">
              <a:solidFill>
                <a:srgbClr val="000000"/>
              </a:solidFill>
              <a:latin typeface="Arial" pitchFamily="-112" charset="0"/>
              <a:ea typeface="Arial" pitchFamily="-112" charset="0"/>
              <a:cs typeface="Arial" pitchFamily="-112" charset="0"/>
            </a:endParaRPr>
          </a:p>
        </p:txBody>
      </p:sp>
      <p:sp>
        <p:nvSpPr>
          <p:cNvPr id="16" name="Text Box 5"/>
          <p:cNvSpPr txBox="1">
            <a:spLocks noChangeArrowheads="1"/>
          </p:cNvSpPr>
          <p:nvPr/>
        </p:nvSpPr>
        <p:spPr bwMode="auto">
          <a:xfrm>
            <a:off x="0" y="903543"/>
            <a:ext cx="9144000" cy="523220"/>
          </a:xfrm>
          <a:prstGeom prst="rect">
            <a:avLst/>
          </a:prstGeom>
          <a:solidFill>
            <a:schemeClr val="tx1"/>
          </a:solidFill>
          <a:ln w="12700">
            <a:noFill/>
            <a:miter lim="800000"/>
            <a:headEnd/>
            <a:tailEnd/>
          </a:ln>
        </p:spPr>
        <p:txBody>
          <a:bodyPr wrap="square" lIns="182880" tIns="137160" rIns="182880" bIns="137160" anchor="ctr">
            <a:spAutoFit/>
          </a:bodyPr>
          <a:lstStyle>
            <a:lvl1pPr>
              <a:defRPr sz="2000" b="1">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a:defRPr sz="1600">
                <a:solidFill>
                  <a:schemeClr val="tx1"/>
                </a:solidFill>
                <a:latin typeface="Arial" charset="0"/>
                <a:ea typeface="Arial" charset="0"/>
                <a:cs typeface="Arial" charset="0"/>
              </a:defRPr>
            </a:lvl3pPr>
            <a:lvl4pPr marL="1600200">
              <a:defRPr sz="1400">
                <a:solidFill>
                  <a:schemeClr val="tx1"/>
                </a:solidFill>
                <a:latin typeface="Arial" charset="0"/>
                <a:ea typeface="Arial" charset="0"/>
                <a:cs typeface="Arial" charset="0"/>
              </a:defRPr>
            </a:lvl4pPr>
            <a:lvl5pPr marL="2057400">
              <a:defRPr sz="1400">
                <a:solidFill>
                  <a:schemeClr val="tx1"/>
                </a:solidFill>
                <a:latin typeface="Arial" charset="0"/>
                <a:ea typeface="Arial" charset="0"/>
                <a:cs typeface="Arial" charset="0"/>
              </a:defRPr>
            </a:lvl5pPr>
            <a:lvl6pPr marL="25146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6pPr>
            <a:lvl7pPr marL="29718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7pPr>
            <a:lvl8pPr marL="34290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8pPr>
            <a:lvl9pPr marL="38862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9pPr>
          </a:lstStyle>
          <a:p>
            <a:pPr algn="ctr"/>
            <a:r>
              <a:rPr lang="en-US" sz="1600" b="0" dirty="0">
                <a:solidFill>
                  <a:srgbClr val="FFFFFF"/>
                </a:solidFill>
                <a:latin typeface="Helvetica Light"/>
                <a:cs typeface="Helvetica Light"/>
              </a:rPr>
              <a:t>Community-based effort to </a:t>
            </a:r>
            <a:r>
              <a:rPr lang="en-US" sz="1600" b="0" dirty="0">
                <a:solidFill>
                  <a:srgbClr val="B9CFED"/>
                </a:solidFill>
                <a:latin typeface="Helvetica Light"/>
                <a:cs typeface="Helvetica Light"/>
              </a:rPr>
              <a:t>standardize </a:t>
            </a:r>
            <a:r>
              <a:rPr lang="en-US" sz="1600" b="0" dirty="0" smtClean="0">
                <a:solidFill>
                  <a:srgbClr val="B9CFED"/>
                </a:solidFill>
                <a:latin typeface="Helvetica Light"/>
                <a:cs typeface="Helvetica Light"/>
              </a:rPr>
              <a:t>Apache Hadoop </a:t>
            </a:r>
            <a:r>
              <a:rPr lang="en-US" sz="1600" b="0" dirty="0">
                <a:solidFill>
                  <a:srgbClr val="FFFFFF"/>
                </a:solidFill>
                <a:latin typeface="Helvetica Light"/>
                <a:cs typeface="Helvetica Light"/>
              </a:rPr>
              <a:t>for </a:t>
            </a:r>
            <a:r>
              <a:rPr lang="en-US" sz="1600" b="0" dirty="0">
                <a:solidFill>
                  <a:srgbClr val="B9CFED"/>
                </a:solidFill>
                <a:latin typeface="Helvetica Light"/>
                <a:cs typeface="Helvetica Light"/>
              </a:rPr>
              <a:t>improved </a:t>
            </a:r>
            <a:r>
              <a:rPr lang="en-US" sz="1600" b="0" dirty="0" smtClean="0">
                <a:solidFill>
                  <a:srgbClr val="B9CFED"/>
                </a:solidFill>
                <a:latin typeface="Helvetica Light"/>
                <a:cs typeface="Helvetica Light"/>
              </a:rPr>
              <a:t>adoption</a:t>
            </a:r>
            <a:endParaRPr lang="en-US" sz="1600" b="0" dirty="0">
              <a:solidFill>
                <a:srgbClr val="B9CFED"/>
              </a:solidFill>
              <a:latin typeface="Helvetica Light"/>
              <a:cs typeface="Helvetica Light"/>
            </a:endParaRPr>
          </a:p>
        </p:txBody>
      </p:sp>
      <p:sp>
        <p:nvSpPr>
          <p:cNvPr id="15" name="Footer Placeholder 2"/>
          <p:cNvSpPr txBox="1">
            <a:spLocks/>
          </p:cNvSpPr>
          <p:nvPr/>
        </p:nvSpPr>
        <p:spPr bwMode="auto">
          <a:xfrm>
            <a:off x="7262814" y="4861352"/>
            <a:ext cx="17224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8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16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16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16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1600" kern="1200">
                <a:solidFill>
                  <a:schemeClr val="tx1"/>
                </a:solidFill>
                <a:latin typeface="Arial" charset="0"/>
                <a:ea typeface="MS PGothic" charset="0"/>
                <a:cs typeface="MS PGothic" charset="0"/>
              </a:defRPr>
            </a:lvl5pPr>
            <a:lvl6pPr marL="2286000" algn="l" defTabSz="457200" rtl="0" eaLnBrk="1" latinLnBrk="0" hangingPunct="1">
              <a:defRPr sz="1600" kern="1200">
                <a:solidFill>
                  <a:schemeClr val="tx1"/>
                </a:solidFill>
                <a:latin typeface="Arial" charset="0"/>
                <a:ea typeface="MS PGothic" charset="0"/>
                <a:cs typeface="MS PGothic" charset="0"/>
              </a:defRPr>
            </a:lvl6pPr>
            <a:lvl7pPr marL="2743200" algn="l" defTabSz="457200" rtl="0" eaLnBrk="1" latinLnBrk="0" hangingPunct="1">
              <a:defRPr sz="1600" kern="1200">
                <a:solidFill>
                  <a:schemeClr val="tx1"/>
                </a:solidFill>
                <a:latin typeface="Arial" charset="0"/>
                <a:ea typeface="MS PGothic" charset="0"/>
                <a:cs typeface="MS PGothic" charset="0"/>
              </a:defRPr>
            </a:lvl7pPr>
            <a:lvl8pPr marL="3200400" algn="l" defTabSz="457200" rtl="0" eaLnBrk="1" latinLnBrk="0" hangingPunct="1">
              <a:defRPr sz="1600" kern="1200">
                <a:solidFill>
                  <a:schemeClr val="tx1"/>
                </a:solidFill>
                <a:latin typeface="Arial" charset="0"/>
                <a:ea typeface="MS PGothic" charset="0"/>
                <a:cs typeface="MS PGothic" charset="0"/>
              </a:defRPr>
            </a:lvl8pPr>
            <a:lvl9pPr marL="3657600" algn="l" defTabSz="457200" rtl="0" eaLnBrk="1" latinLnBrk="0" hangingPunct="1">
              <a:defRPr sz="1600" kern="1200">
                <a:solidFill>
                  <a:schemeClr val="tx1"/>
                </a:solidFill>
                <a:latin typeface="Arial" charset="0"/>
                <a:ea typeface="MS PGothic" charset="0"/>
                <a:cs typeface="MS PGothic" charset="0"/>
              </a:defRPr>
            </a:lvl9pPr>
          </a:lstStyle>
          <a:p>
            <a:r>
              <a:rPr lang="en-US" sz="900" smtClean="0">
                <a:solidFill>
                  <a:srgbClr val="FFFFFF"/>
                </a:solidFill>
              </a:rPr>
              <a:t>© 2015 IBM Corporation</a:t>
            </a:r>
            <a:endParaRPr lang="en-US" sz="900" dirty="0">
              <a:solidFill>
                <a:srgbClr val="FFFFFF"/>
              </a:solidFill>
            </a:endParaRPr>
          </a:p>
        </p:txBody>
      </p:sp>
      <p:pic>
        <p:nvPicPr>
          <p:cNvPr id="23" name="Picture 3"/>
          <p:cNvPicPr>
            <a:picLocks noChangeAspect="1"/>
          </p:cNvPicPr>
          <p:nvPr/>
        </p:nvPicPr>
        <p:blipFill rotWithShape="1">
          <a:blip r:embed="rId5"/>
          <a:srcRect l="4443"/>
          <a:stretch/>
        </p:blipFill>
        <p:spPr bwMode="auto">
          <a:xfrm>
            <a:off x="0" y="1437590"/>
            <a:ext cx="4881562" cy="3669506"/>
          </a:xfrm>
          <a:prstGeom prst="rect">
            <a:avLst/>
          </a:prstGeom>
          <a:noFill/>
          <a:ln w="9525">
            <a:noFill/>
            <a:miter lim="800000"/>
            <a:headEnd/>
            <a:tailEnd/>
          </a:ln>
        </p:spPr>
      </p:pic>
      <p:sp>
        <p:nvSpPr>
          <p:cNvPr id="24" name="Rectangle 23"/>
          <p:cNvSpPr/>
          <p:nvPr/>
        </p:nvSpPr>
        <p:spPr>
          <a:xfrm>
            <a:off x="4626" y="4825216"/>
            <a:ext cx="3328155" cy="400110"/>
          </a:xfrm>
          <a:prstGeom prst="rect">
            <a:avLst/>
          </a:prstGeom>
        </p:spPr>
        <p:txBody>
          <a:bodyPr wrap="none">
            <a:spAutoFit/>
          </a:bodyPr>
          <a:lstStyle/>
          <a:p>
            <a:r>
              <a:rPr lang="en-US" sz="2000" dirty="0">
                <a:solidFill>
                  <a:srgbClr val="0000FF"/>
                </a:solidFill>
                <a:latin typeface="Helvetica Neue Thin" charset="0"/>
                <a:ea typeface="Helvetica Neue Thin" charset="0"/>
                <a:cs typeface="Helvetica Neue Thin" charset="0"/>
              </a:rPr>
              <a:t>http://opendataplatform.org/</a:t>
            </a:r>
          </a:p>
        </p:txBody>
      </p:sp>
    </p:spTree>
    <p:extLst>
      <p:ext uri="{BB962C8B-B14F-4D97-AF65-F5344CB8AC3E}">
        <p14:creationId xmlns:p14="http://schemas.microsoft.com/office/powerpoint/2010/main" val="3572563880"/>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3" descr="ODPI-Members-Screen Shot 2015-11-23 at 9.16.30 PM.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1857737622"/>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s what in the cloud zoo</a:t>
            </a:r>
            <a:endParaRPr lang="en-US" dirty="0"/>
          </a:p>
        </p:txBody>
      </p:sp>
      <p:sp>
        <p:nvSpPr>
          <p:cNvPr id="3" name="Content Placeholder 2"/>
          <p:cNvSpPr>
            <a:spLocks noGrp="1"/>
          </p:cNvSpPr>
          <p:nvPr>
            <p:ph idx="1"/>
          </p:nvPr>
        </p:nvSpPr>
        <p:spPr>
          <a:xfrm>
            <a:off x="266700" y="972742"/>
            <a:ext cx="8542338" cy="4055292"/>
          </a:xfrm>
        </p:spPr>
        <p:txBody>
          <a:bodyPr/>
          <a:lstStyle/>
          <a:p>
            <a:r>
              <a:rPr lang="en-US" sz="1600" dirty="0" smtClean="0"/>
              <a:t>Infrastructure as a Service </a:t>
            </a:r>
            <a:r>
              <a:rPr lang="en-US" sz="1600" b="0" dirty="0" smtClean="0"/>
              <a:t>Bring your software licenses to be hosted.  You are still responsible for the management and operations of the environment.</a:t>
            </a:r>
          </a:p>
          <a:p>
            <a:pPr marL="0" indent="0">
              <a:buNone/>
            </a:pPr>
            <a:endParaRPr lang="en-US" sz="1600" b="0" dirty="0" smtClean="0"/>
          </a:p>
          <a:p>
            <a:pPr lvl="1"/>
            <a:r>
              <a:rPr lang="en-US" u="sng" dirty="0" smtClean="0"/>
              <a:t>Examples:</a:t>
            </a:r>
            <a:r>
              <a:rPr lang="en-US" dirty="0" smtClean="0"/>
              <a:t> Hosting your software licenses on IBM </a:t>
            </a:r>
            <a:r>
              <a:rPr lang="en-US" dirty="0" err="1" smtClean="0"/>
              <a:t>SoftLayer</a:t>
            </a:r>
            <a:r>
              <a:rPr lang="en-US" dirty="0" smtClean="0"/>
              <a:t>, AWS, Microsoft Azure, etc.</a:t>
            </a:r>
          </a:p>
          <a:p>
            <a:pPr lvl="1"/>
            <a:endParaRPr lang="en-US" b="0" dirty="0" smtClean="0"/>
          </a:p>
          <a:p>
            <a:r>
              <a:rPr lang="en-US" sz="1600" dirty="0" smtClean="0"/>
              <a:t>Platform </a:t>
            </a:r>
            <a:r>
              <a:rPr lang="en-US" sz="1600" dirty="0"/>
              <a:t>as a </a:t>
            </a:r>
            <a:r>
              <a:rPr lang="en-US" sz="1600" dirty="0" smtClean="0"/>
              <a:t>Service </a:t>
            </a:r>
            <a:r>
              <a:rPr lang="en-AU" sz="1600" b="0" dirty="0" smtClean="0"/>
              <a:t>Infrastructure </a:t>
            </a:r>
            <a:r>
              <a:rPr lang="en-AU" sz="1600" b="0" dirty="0"/>
              <a:t>and software provided by vendor. </a:t>
            </a:r>
            <a:r>
              <a:rPr lang="en-US" sz="1600" b="0" dirty="0"/>
              <a:t>Customer </a:t>
            </a:r>
            <a:r>
              <a:rPr lang="en-AU" sz="1600" b="0" dirty="0"/>
              <a:t>controls software deployment and configuration settings</a:t>
            </a:r>
            <a:endParaRPr lang="en-US" sz="1600" dirty="0"/>
          </a:p>
          <a:p>
            <a:pPr lvl="1"/>
            <a:r>
              <a:rPr lang="en-US" u="sng" dirty="0"/>
              <a:t>Examples:</a:t>
            </a:r>
            <a:r>
              <a:rPr lang="en-US" dirty="0"/>
              <a:t> IBM CDS Offerings, </a:t>
            </a:r>
            <a:r>
              <a:rPr lang="en-US" dirty="0" smtClean="0"/>
              <a:t>DB2 on Cloud, IBM </a:t>
            </a:r>
            <a:r>
              <a:rPr lang="en-US" dirty="0"/>
              <a:t>Bluemix, AWS database </a:t>
            </a:r>
            <a:r>
              <a:rPr lang="en-US" dirty="0" smtClean="0"/>
              <a:t>offerings</a:t>
            </a:r>
          </a:p>
          <a:p>
            <a:pPr lvl="1"/>
            <a:endParaRPr lang="en-US" dirty="0"/>
          </a:p>
          <a:p>
            <a:r>
              <a:rPr lang="en-US" sz="1600" dirty="0" smtClean="0"/>
              <a:t>Software as a Service:</a:t>
            </a:r>
            <a:r>
              <a:rPr lang="en-US" sz="1600" b="0" dirty="0" smtClean="0"/>
              <a:t> Applications that are consumed over the internet and are typically not customizable and developed</a:t>
            </a:r>
          </a:p>
          <a:p>
            <a:pPr lvl="1"/>
            <a:r>
              <a:rPr lang="en-US" u="sng" dirty="0" smtClean="0"/>
              <a:t>Examples</a:t>
            </a:r>
            <a:r>
              <a:rPr lang="en-US" dirty="0" smtClean="0"/>
              <a:t>: SalesForce.com, Gmail, IBM Cognos on </a:t>
            </a:r>
            <a:r>
              <a:rPr lang="en-US" dirty="0"/>
              <a:t>Cloud, dashDB, </a:t>
            </a:r>
            <a:endParaRPr lang="en-US" dirty="0" smtClean="0"/>
          </a:p>
          <a:p>
            <a:pPr marL="0" indent="0">
              <a:buNone/>
            </a:pPr>
            <a:endParaRPr lang="en-US" sz="1600" dirty="0" smtClean="0"/>
          </a:p>
          <a:p>
            <a:r>
              <a:rPr lang="en-US" dirty="0" smtClean="0"/>
              <a:t>.</a:t>
            </a:r>
            <a:endParaRPr lang="en-US" u="sng" dirty="0"/>
          </a:p>
        </p:txBody>
      </p:sp>
    </p:spTree>
    <p:extLst>
      <p:ext uri="{BB962C8B-B14F-4D97-AF65-F5344CB8AC3E}">
        <p14:creationId xmlns:p14="http://schemas.microsoft.com/office/powerpoint/2010/main" val="3690220740"/>
      </p:ext>
    </p:extLst>
  </p:cSld>
  <p:clrMapOvr>
    <a:masterClrMapping/>
  </p:clrMapOvr>
  <p:transition spd="med"/>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ChangeArrowheads="1"/>
          </p:cNvSpPr>
          <p:nvPr/>
        </p:nvSpPr>
        <p:spPr bwMode="auto">
          <a:xfrm>
            <a:off x="853207" y="815339"/>
            <a:ext cx="7407965" cy="371513"/>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0A5889"/>
                </a:solidFill>
                <a:latin typeface="Helvetica Neue Light" charset="0"/>
                <a:ea typeface="Helvetica Neue Light" charset="0"/>
                <a:cs typeface="Helvetica Neue Light" charset="0"/>
              </a:rPr>
              <a:t>IBM Open Platform (</a:t>
            </a:r>
            <a:r>
              <a:rPr lang="en-US" b="1" dirty="0" smtClean="0">
                <a:solidFill>
                  <a:srgbClr val="0A5889"/>
                </a:solidFill>
                <a:latin typeface="Helvetica Neue Light" charset="0"/>
                <a:ea typeface="Helvetica Neue Light" charset="0"/>
                <a:cs typeface="Helvetica Neue Light" charset="0"/>
              </a:rPr>
              <a:t>IOP</a:t>
            </a:r>
            <a:r>
              <a:rPr lang="en-US" dirty="0" smtClean="0">
                <a:solidFill>
                  <a:srgbClr val="0A5889"/>
                </a:solidFill>
                <a:latin typeface="Helvetica Neue Light" charset="0"/>
                <a:ea typeface="Helvetica Neue Light" charset="0"/>
                <a:cs typeface="Helvetica Neue Light" charset="0"/>
              </a:rPr>
              <a:t>)</a:t>
            </a:r>
            <a:endParaRPr lang="en-US" dirty="0">
              <a:solidFill>
                <a:srgbClr val="0A5889"/>
              </a:solidFill>
              <a:latin typeface="Helvetica Neue Light" charset="0"/>
              <a:ea typeface="Helvetica Neue Light" charset="0"/>
              <a:cs typeface="Helvetica Neue Light" charset="0"/>
            </a:endParaRPr>
          </a:p>
        </p:txBody>
      </p:sp>
      <p:sp>
        <p:nvSpPr>
          <p:cNvPr id="2" name="Rounded Rectangle 1"/>
          <p:cNvSpPr/>
          <p:nvPr/>
        </p:nvSpPr>
        <p:spPr>
          <a:xfrm>
            <a:off x="853207" y="1150340"/>
            <a:ext cx="7407965" cy="1844810"/>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dirty="0" smtClean="0"/>
              <a:t>IBM Open Platform (IOP)</a:t>
            </a:r>
            <a:endParaRPr lang="en-US" dirty="0"/>
          </a:p>
        </p:txBody>
      </p:sp>
      <p:sp>
        <p:nvSpPr>
          <p:cNvPr id="4" name="Content Placeholder 3"/>
          <p:cNvSpPr>
            <a:spLocks noGrp="1"/>
          </p:cNvSpPr>
          <p:nvPr>
            <p:ph idx="1"/>
          </p:nvPr>
        </p:nvSpPr>
        <p:spPr>
          <a:xfrm>
            <a:off x="266700" y="3148717"/>
            <a:ext cx="8542338" cy="1492385"/>
          </a:xfrm>
        </p:spPr>
        <p:txBody>
          <a:bodyPr/>
          <a:lstStyle/>
          <a:p>
            <a:r>
              <a:rPr lang="en-US" sz="1600" b="1" dirty="0" smtClean="0">
                <a:solidFill>
                  <a:srgbClr val="353CFA"/>
                </a:solidFill>
              </a:rPr>
              <a:t>IOP</a:t>
            </a:r>
            <a:r>
              <a:rPr lang="en-US" sz="1600" dirty="0" smtClean="0">
                <a:solidFill>
                  <a:srgbClr val="353CFA"/>
                </a:solidFill>
              </a:rPr>
              <a:t> </a:t>
            </a:r>
            <a:r>
              <a:rPr lang="en-US" sz="1600" dirty="0" smtClean="0"/>
              <a:t>package of 100% open source Hadoop distributions from IBM </a:t>
            </a:r>
            <a:br>
              <a:rPr lang="en-US" sz="1600" dirty="0" smtClean="0"/>
            </a:br>
            <a:r>
              <a:rPr lang="en-US" sz="1600" dirty="0" smtClean="0"/>
              <a:t>and the Apache Software Foundation</a:t>
            </a:r>
          </a:p>
          <a:p>
            <a:pPr lvl="1"/>
            <a:r>
              <a:rPr lang="en-US" sz="1400" dirty="0" smtClean="0"/>
              <a:t>Includes </a:t>
            </a:r>
            <a:r>
              <a:rPr lang="en-US" sz="1400" dirty="0" smtClean="0">
                <a:solidFill>
                  <a:srgbClr val="353CFA"/>
                </a:solidFill>
              </a:rPr>
              <a:t>Apache Spark </a:t>
            </a:r>
            <a:r>
              <a:rPr lang="en-US" sz="1400" dirty="0" smtClean="0"/>
              <a:t>for in-memory MapReduce processing</a:t>
            </a:r>
          </a:p>
          <a:p>
            <a:pPr lvl="1"/>
            <a:r>
              <a:rPr lang="en-US" sz="1400" dirty="0" smtClean="0"/>
              <a:t>Includes </a:t>
            </a:r>
            <a:r>
              <a:rPr lang="en-US" sz="1400" dirty="0" smtClean="0">
                <a:solidFill>
                  <a:srgbClr val="353CFA"/>
                </a:solidFill>
              </a:rPr>
              <a:t>Apache Ambari </a:t>
            </a:r>
            <a:r>
              <a:rPr lang="en-US" sz="1400" dirty="0" smtClean="0"/>
              <a:t>for simplified Hadoop administration</a:t>
            </a:r>
          </a:p>
          <a:p>
            <a:pPr lvl="1"/>
            <a:r>
              <a:rPr lang="en-US" sz="1400" b="1" dirty="0" smtClean="0">
                <a:solidFill>
                  <a:srgbClr val="1DA083"/>
                </a:solidFill>
              </a:rPr>
              <a:t>Free for production usage</a:t>
            </a:r>
          </a:p>
          <a:p>
            <a:pPr lvl="2"/>
            <a:r>
              <a:rPr lang="en-US" sz="1200" dirty="0" smtClean="0"/>
              <a:t>Support (paid) available for customers who desire it</a:t>
            </a:r>
          </a:p>
          <a:p>
            <a:endParaRPr lang="en-US" sz="1600" dirty="0"/>
          </a:p>
          <a:p>
            <a:endParaRPr lang="en-US" sz="1600" dirty="0"/>
          </a:p>
        </p:txBody>
      </p:sp>
      <p:graphicFrame>
        <p:nvGraphicFramePr>
          <p:cNvPr id="5" name="Diagram 4"/>
          <p:cNvGraphicFramePr/>
          <p:nvPr>
            <p:extLst/>
          </p:nvPr>
        </p:nvGraphicFramePr>
        <p:xfrm>
          <a:off x="1101431" y="1247172"/>
          <a:ext cx="6907949" cy="754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nvPr>
        </p:nvGraphicFramePr>
        <p:xfrm>
          <a:off x="1101431" y="2132112"/>
          <a:ext cx="6907949" cy="7540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374785338"/>
      </p:ext>
    </p:extLst>
  </p:cSld>
  <p:clrMapOvr>
    <a:masterClrMapping/>
  </p:clrMapOvr>
  <p:transition spd="med"/>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ChangeArrowheads="1"/>
          </p:cNvSpPr>
          <p:nvPr/>
        </p:nvSpPr>
        <p:spPr bwMode="auto">
          <a:xfrm>
            <a:off x="853207" y="815339"/>
            <a:ext cx="7407965" cy="371513"/>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0A5889"/>
                </a:solidFill>
                <a:latin typeface="Helvetica Neue Light" charset="0"/>
                <a:ea typeface="Helvetica Neue Light" charset="0"/>
                <a:cs typeface="Helvetica Neue Light" charset="0"/>
              </a:rPr>
              <a:t>IBM Open Platform (</a:t>
            </a:r>
            <a:r>
              <a:rPr lang="en-US" b="1" dirty="0" smtClean="0">
                <a:solidFill>
                  <a:srgbClr val="0A5889"/>
                </a:solidFill>
                <a:latin typeface="Helvetica Neue Light" charset="0"/>
                <a:ea typeface="Helvetica Neue Light" charset="0"/>
                <a:cs typeface="Helvetica Neue Light" charset="0"/>
              </a:rPr>
              <a:t>IOP</a:t>
            </a:r>
            <a:r>
              <a:rPr lang="en-US" dirty="0" smtClean="0">
                <a:solidFill>
                  <a:srgbClr val="0A5889"/>
                </a:solidFill>
                <a:latin typeface="Helvetica Neue Light" charset="0"/>
                <a:ea typeface="Helvetica Neue Light" charset="0"/>
                <a:cs typeface="Helvetica Neue Light" charset="0"/>
              </a:rPr>
              <a:t>)</a:t>
            </a:r>
            <a:endParaRPr lang="en-US" dirty="0">
              <a:solidFill>
                <a:srgbClr val="0A5889"/>
              </a:solidFill>
              <a:latin typeface="Helvetica Neue Light" charset="0"/>
              <a:ea typeface="Helvetica Neue Light" charset="0"/>
              <a:cs typeface="Helvetica Neue Light" charset="0"/>
            </a:endParaRPr>
          </a:p>
        </p:txBody>
      </p:sp>
      <p:sp>
        <p:nvSpPr>
          <p:cNvPr id="2" name="Rounded Rectangle 1"/>
          <p:cNvSpPr/>
          <p:nvPr/>
        </p:nvSpPr>
        <p:spPr>
          <a:xfrm>
            <a:off x="853207" y="1150340"/>
            <a:ext cx="7407965" cy="1844810"/>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 name="Title 2"/>
          <p:cNvSpPr>
            <a:spLocks noGrp="1"/>
          </p:cNvSpPr>
          <p:nvPr>
            <p:ph type="title"/>
          </p:nvPr>
        </p:nvSpPr>
        <p:spPr/>
        <p:txBody>
          <a:bodyPr/>
          <a:lstStyle/>
          <a:p>
            <a:r>
              <a:rPr lang="en-US" sz="2000" dirty="0" smtClean="0"/>
              <a:t>IBM Open Platform (IOP) Adopts ODP Core Standards</a:t>
            </a:r>
            <a:endParaRPr lang="en-US" sz="2000" dirty="0"/>
          </a:p>
        </p:txBody>
      </p:sp>
      <p:sp>
        <p:nvSpPr>
          <p:cNvPr id="4" name="Content Placeholder 3"/>
          <p:cNvSpPr>
            <a:spLocks noGrp="1"/>
          </p:cNvSpPr>
          <p:nvPr>
            <p:ph idx="1"/>
          </p:nvPr>
        </p:nvSpPr>
        <p:spPr>
          <a:xfrm>
            <a:off x="266700" y="3347529"/>
            <a:ext cx="8542338" cy="562082"/>
          </a:xfrm>
        </p:spPr>
        <p:txBody>
          <a:bodyPr/>
          <a:lstStyle/>
          <a:p>
            <a:endParaRPr lang="en-US" sz="1600" b="1" dirty="0" smtClean="0">
              <a:solidFill>
                <a:srgbClr val="353CFA"/>
              </a:solidFill>
            </a:endParaRPr>
          </a:p>
          <a:p>
            <a:endParaRPr lang="en-US" sz="1600" b="1" dirty="0">
              <a:solidFill>
                <a:srgbClr val="353CFA"/>
              </a:solidFill>
            </a:endParaRPr>
          </a:p>
          <a:p>
            <a:r>
              <a:rPr lang="en-US" sz="1600" b="1" dirty="0" smtClean="0">
                <a:solidFill>
                  <a:srgbClr val="353CFA"/>
                </a:solidFill>
              </a:rPr>
              <a:t>ODP </a:t>
            </a:r>
            <a:r>
              <a:rPr lang="en-US" sz="1600" dirty="0" smtClean="0"/>
              <a:t>certification &amp; standards will initially target core Hadoop packages, with plans for further coverage of the </a:t>
            </a:r>
            <a:r>
              <a:rPr lang="en-US" sz="1600" b="1" dirty="0" smtClean="0">
                <a:solidFill>
                  <a:srgbClr val="353CFA"/>
                </a:solidFill>
              </a:rPr>
              <a:t>IOP</a:t>
            </a:r>
            <a:r>
              <a:rPr lang="en-US" sz="1600" dirty="0" smtClean="0">
                <a:solidFill>
                  <a:srgbClr val="353CFA"/>
                </a:solidFill>
              </a:rPr>
              <a:t> </a:t>
            </a:r>
            <a:r>
              <a:rPr lang="en-US" sz="1600" dirty="0" smtClean="0"/>
              <a:t>stack in the future</a:t>
            </a:r>
          </a:p>
          <a:p>
            <a:pPr lvl="1"/>
            <a:r>
              <a:rPr lang="en-US" sz="1200" dirty="0" smtClean="0"/>
              <a:t>Enables IBM Hadoop capabilities to run on any ODP-certified Hadoop distributions</a:t>
            </a:r>
          </a:p>
          <a:p>
            <a:pPr lvl="1"/>
            <a:r>
              <a:rPr lang="en-US" sz="1200" dirty="0" smtClean="0"/>
              <a:t>Better compatibility with minimal testing required against ecosystem software</a:t>
            </a:r>
            <a:endParaRPr lang="en-US" sz="1400" dirty="0"/>
          </a:p>
          <a:p>
            <a:endParaRPr lang="en-US" sz="1600" dirty="0"/>
          </a:p>
        </p:txBody>
      </p:sp>
      <p:graphicFrame>
        <p:nvGraphicFramePr>
          <p:cNvPr id="5" name="Diagram 4"/>
          <p:cNvGraphicFramePr/>
          <p:nvPr>
            <p:extLst/>
          </p:nvPr>
        </p:nvGraphicFramePr>
        <p:xfrm>
          <a:off x="1101431" y="1247172"/>
          <a:ext cx="6907949" cy="7540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nvPr>
        </p:nvGraphicFramePr>
        <p:xfrm>
          <a:off x="1101431" y="2132112"/>
          <a:ext cx="6907949" cy="754066"/>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Right Brace 7"/>
          <p:cNvSpPr/>
          <p:nvPr/>
        </p:nvSpPr>
        <p:spPr>
          <a:xfrm rot="5400000">
            <a:off x="2068133" y="2079978"/>
            <a:ext cx="232798" cy="2166205"/>
          </a:xfrm>
          <a:prstGeom prst="rightBrace">
            <a:avLst/>
          </a:prstGeom>
          <a:ln>
            <a:solidFill>
              <a:srgbClr val="EB6D00"/>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9" name="Rectangle 5"/>
          <p:cNvSpPr>
            <a:spLocks noChangeArrowheads="1"/>
          </p:cNvSpPr>
          <p:nvPr/>
        </p:nvSpPr>
        <p:spPr bwMode="auto">
          <a:xfrm>
            <a:off x="853208" y="3300755"/>
            <a:ext cx="2683369" cy="648512"/>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EB781D"/>
                </a:solidFill>
                <a:latin typeface="Helvetica Neue Light" charset="0"/>
                <a:ea typeface="Helvetica Neue Light" charset="0"/>
                <a:cs typeface="Helvetica Neue Light" charset="0"/>
              </a:rPr>
              <a:t>Open Data Platform </a:t>
            </a:r>
            <a:r>
              <a:rPr lang="en-US" dirty="0" smtClean="0">
                <a:solidFill>
                  <a:srgbClr val="0A5889"/>
                </a:solidFill>
                <a:latin typeface="Helvetica Neue Light" charset="0"/>
                <a:ea typeface="Helvetica Neue Light" charset="0"/>
                <a:cs typeface="Helvetica Neue Light" charset="0"/>
              </a:rPr>
              <a:t>(</a:t>
            </a:r>
            <a:r>
              <a:rPr lang="en-US" b="1" dirty="0" smtClean="0">
                <a:solidFill>
                  <a:srgbClr val="EB781D"/>
                </a:solidFill>
                <a:latin typeface="Helvetica Neue Light" charset="0"/>
                <a:ea typeface="Helvetica Neue Light" charset="0"/>
                <a:cs typeface="Helvetica Neue Light" charset="0"/>
              </a:rPr>
              <a:t>ODP</a:t>
            </a:r>
            <a:r>
              <a:rPr lang="en-US" dirty="0" smtClean="0">
                <a:solidFill>
                  <a:srgbClr val="0A5889"/>
                </a:solidFill>
                <a:latin typeface="Helvetica Neue Light" charset="0"/>
                <a:ea typeface="Helvetica Neue Light" charset="0"/>
                <a:cs typeface="Helvetica Neue Light" charset="0"/>
              </a:rPr>
              <a:t>)</a:t>
            </a:r>
            <a:endParaRPr lang="en-US" dirty="0">
              <a:solidFill>
                <a:srgbClr val="0A5889"/>
              </a:solidFill>
              <a:latin typeface="Helvetica Neue Light" charset="0"/>
              <a:ea typeface="Helvetica Neue Light" charset="0"/>
              <a:cs typeface="Helvetica Neue Light" charset="0"/>
            </a:endParaRPr>
          </a:p>
        </p:txBody>
      </p:sp>
      <p:sp>
        <p:nvSpPr>
          <p:cNvPr id="10" name="Right Brace 9"/>
          <p:cNvSpPr/>
          <p:nvPr/>
        </p:nvSpPr>
        <p:spPr>
          <a:xfrm rot="5400000">
            <a:off x="5613802" y="905180"/>
            <a:ext cx="254074" cy="4537078"/>
          </a:xfrm>
          <a:prstGeom prst="rightBrace">
            <a:avLst/>
          </a:prstGeom>
          <a:ln>
            <a:solidFill>
              <a:srgbClr val="0A5889"/>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000000"/>
              </a:solidFill>
            </a:endParaRPr>
          </a:p>
        </p:txBody>
      </p:sp>
      <p:sp>
        <p:nvSpPr>
          <p:cNvPr id="11" name="Rectangle 5"/>
          <p:cNvSpPr>
            <a:spLocks noChangeArrowheads="1"/>
          </p:cNvSpPr>
          <p:nvPr/>
        </p:nvSpPr>
        <p:spPr bwMode="auto">
          <a:xfrm>
            <a:off x="3472300" y="3290362"/>
            <a:ext cx="4537079" cy="371513"/>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0A5889"/>
                </a:solidFill>
                <a:latin typeface="Helvetica Neue Light" charset="0"/>
                <a:ea typeface="Helvetica Neue Light" charset="0"/>
                <a:cs typeface="Helvetica Neue Light" charset="0"/>
              </a:rPr>
              <a:t>Hadoop Open-source Components</a:t>
            </a:r>
            <a:endParaRPr lang="en-US" dirty="0">
              <a:solidFill>
                <a:srgbClr val="0A5889"/>
              </a:solidFill>
              <a:latin typeface="Helvetica Neue Light" charset="0"/>
              <a:ea typeface="Helvetica Neue Light" charset="0"/>
              <a:cs typeface="Helvetica Neue Light" charset="0"/>
            </a:endParaRPr>
          </a:p>
        </p:txBody>
      </p:sp>
      <p:pic>
        <p:nvPicPr>
          <p:cNvPr id="12" name="Picture 4"/>
          <p:cNvPicPr>
            <a:picLocks noChangeAspect="1" noChangeArrowheads="1"/>
          </p:cNvPicPr>
          <p:nvPr/>
        </p:nvPicPr>
        <p:blipFill>
          <a:blip r:embed="rId13"/>
          <a:srcRect/>
          <a:stretch>
            <a:fillRect/>
          </a:stretch>
        </p:blipFill>
        <p:spPr bwMode="auto">
          <a:xfrm>
            <a:off x="523579" y="3324277"/>
            <a:ext cx="577850" cy="439340"/>
          </a:xfrm>
          <a:prstGeom prst="rect">
            <a:avLst/>
          </a:prstGeom>
          <a:noFill/>
          <a:ln w="9525">
            <a:noFill/>
            <a:miter lim="800000"/>
            <a:headEnd/>
            <a:tailEnd/>
          </a:ln>
        </p:spPr>
      </p:pic>
    </p:spTree>
    <p:extLst>
      <p:ext uri="{BB962C8B-B14F-4D97-AF65-F5344CB8AC3E}">
        <p14:creationId xmlns:p14="http://schemas.microsoft.com/office/powerpoint/2010/main" val="544904390"/>
      </p:ext>
    </p:extLst>
  </p:cSld>
  <p:clrMapOvr>
    <a:masterClrMapping/>
  </p:clrMapOvr>
  <p:transition spd="med"/>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45720" rIns="91440" bIns="45720" numCol="1" anchor="t" anchorCtr="0" compatLnSpc="1">
            <a:prstTxWarp prst="textNoShape">
              <a:avLst/>
            </a:prstTxWarp>
          </a:bodyPr>
          <a:lstStyle/>
          <a:p>
            <a:r>
              <a:rPr lang="en-US" b="1" dirty="0"/>
              <a:t>Usual </a:t>
            </a:r>
            <a:r>
              <a:rPr lang="en-US" b="1" dirty="0" smtClean="0"/>
              <a:t>story related </a:t>
            </a:r>
            <a:r>
              <a:rPr lang="en-US" b="1" dirty="0"/>
              <a:t>to Hadoop &amp; Big Data</a:t>
            </a:r>
          </a:p>
        </p:txBody>
      </p:sp>
      <p:sp>
        <p:nvSpPr>
          <p:cNvPr id="24" name="Content Placeholder 2"/>
          <p:cNvSpPr>
            <a:spLocks noGrp="1"/>
          </p:cNvSpPr>
          <p:nvPr>
            <p:ph idx="1"/>
          </p:nvPr>
        </p:nvSpPr>
        <p:spPr>
          <a:xfrm>
            <a:off x="266700" y="972742"/>
            <a:ext cx="5060674" cy="3708116"/>
          </a:xfrm>
        </p:spPr>
        <p:txBody>
          <a:bodyPr/>
          <a:lstStyle/>
          <a:p>
            <a:pPr>
              <a:buFont typeface="Arial" panose="020B0604020202020204" pitchFamily="34" charset="0"/>
              <a:buChar char="•"/>
            </a:pPr>
            <a:r>
              <a:rPr lang="en-US" sz="1600" dirty="0" smtClean="0"/>
              <a:t>Limited personnel, skills and data center capacity</a:t>
            </a:r>
          </a:p>
          <a:p>
            <a:pPr>
              <a:buFont typeface="Arial" panose="020B0604020202020204" pitchFamily="34" charset="0"/>
              <a:buChar char="•"/>
            </a:pPr>
            <a:endParaRPr lang="en-US" sz="1600" dirty="0" smtClean="0"/>
          </a:p>
          <a:p>
            <a:pPr>
              <a:buFont typeface="Arial" panose="020B0604020202020204" pitchFamily="34" charset="0"/>
              <a:buChar char="•"/>
            </a:pPr>
            <a:r>
              <a:rPr lang="en-US" sz="1600" dirty="0" smtClean="0"/>
              <a:t>Many big data initiatives are early stage – fast moving ecosystem, requirements uncertain &amp; evolving quickly</a:t>
            </a:r>
          </a:p>
          <a:p>
            <a:pPr>
              <a:buFont typeface="Arial" panose="020B0604020202020204" pitchFamily="34" charset="0"/>
              <a:buChar char="•"/>
            </a:pPr>
            <a:endParaRPr lang="en-US" sz="1600" i="1" dirty="0" smtClean="0"/>
          </a:p>
          <a:p>
            <a:pPr>
              <a:buFont typeface="Arial" panose="020B0604020202020204" pitchFamily="34" charset="0"/>
              <a:buChar char="•"/>
            </a:pPr>
            <a:r>
              <a:rPr lang="en-US" sz="1600" i="1" dirty="0" smtClean="0"/>
              <a:t>Spiky</a:t>
            </a:r>
            <a:r>
              <a:rPr lang="en-US" sz="1600" dirty="0" smtClean="0"/>
              <a:t> or unknown infrastructure requirements</a:t>
            </a:r>
          </a:p>
          <a:p>
            <a:pPr>
              <a:buFont typeface="Arial" panose="020B0604020202020204" pitchFamily="34" charset="0"/>
              <a:buChar char="•"/>
            </a:pPr>
            <a:endParaRPr lang="en-US" sz="1600" dirty="0" smtClean="0"/>
          </a:p>
          <a:p>
            <a:pPr>
              <a:buFont typeface="Arial" panose="020B0604020202020204" pitchFamily="34" charset="0"/>
              <a:buChar char="•"/>
            </a:pPr>
            <a:r>
              <a:rPr lang="en-US" sz="1600" dirty="0" smtClean="0"/>
              <a:t>Challenges meeting time-to-market expectations</a:t>
            </a:r>
          </a:p>
        </p:txBody>
      </p:sp>
      <p:grpSp>
        <p:nvGrpSpPr>
          <p:cNvPr id="25" name="Group 24"/>
          <p:cNvGrpSpPr/>
          <p:nvPr/>
        </p:nvGrpSpPr>
        <p:grpSpPr>
          <a:xfrm>
            <a:off x="5556738" y="854110"/>
            <a:ext cx="3253340" cy="4036612"/>
            <a:chOff x="2361589" y="335391"/>
            <a:chExt cx="4048189" cy="4469606"/>
          </a:xfrm>
        </p:grpSpPr>
        <p:pic>
          <p:nvPicPr>
            <p:cNvPr id="26" name="Picture 6" descr="Stacked Boxes trans bk.png"/>
            <p:cNvPicPr>
              <a:picLocks noChangeAspect="1"/>
            </p:cNvPicPr>
            <p:nvPr/>
          </p:nvPicPr>
          <p:blipFill>
            <a:blip r:embed="rId2"/>
            <a:srcRect/>
            <a:stretch>
              <a:fillRect/>
            </a:stretch>
          </p:blipFill>
          <p:spPr bwMode="auto">
            <a:xfrm>
              <a:off x="2370595" y="335391"/>
              <a:ext cx="4039183" cy="4469606"/>
            </a:xfrm>
            <a:prstGeom prst="rect">
              <a:avLst/>
            </a:prstGeom>
            <a:noFill/>
            <a:ln w="9525">
              <a:noFill/>
              <a:miter lim="800000"/>
              <a:headEnd/>
              <a:tailEnd/>
            </a:ln>
          </p:spPr>
        </p:pic>
        <p:sp>
          <p:nvSpPr>
            <p:cNvPr id="27" name="AutoShape 36"/>
            <p:cNvSpPr>
              <a:spLocks noChangeArrowheads="1"/>
            </p:cNvSpPr>
            <p:nvPr/>
          </p:nvSpPr>
          <p:spPr bwMode="auto">
            <a:xfrm>
              <a:off x="3557540" y="2687857"/>
              <a:ext cx="1073020" cy="188097"/>
            </a:xfrm>
            <a:prstGeom prst="roundRect">
              <a:avLst>
                <a:gd name="adj" fmla="val 9963"/>
              </a:avLst>
            </a:prstGeom>
            <a:noFill/>
            <a:ln>
              <a:noFill/>
            </a:ln>
            <a:effectLst/>
            <a:scene3d>
              <a:camera prst="orthographicFront">
                <a:rot lat="600000" lon="2100000" rev="0"/>
              </a:camera>
              <a:lightRig rig="threePt" dir="t"/>
            </a:scene3d>
          </p:spPr>
          <p:txBody>
            <a:bodyPr wrap="none" anchor="ctr"/>
            <a:lstStyle/>
            <a:p>
              <a:pPr algn="ctr" eaLnBrk="0" hangingPunct="0">
                <a:defRPr/>
              </a:pPr>
              <a:r>
                <a:rPr lang="en-US" sz="1200" dirty="0">
                  <a:latin typeface="Marker Felt"/>
                  <a:cs typeface="MS PGothic" charset="0"/>
                </a:rPr>
                <a:t>Flume</a:t>
              </a:r>
            </a:p>
          </p:txBody>
        </p:sp>
        <p:sp>
          <p:nvSpPr>
            <p:cNvPr id="28" name="AutoShape 36"/>
            <p:cNvSpPr>
              <a:spLocks noChangeArrowheads="1"/>
            </p:cNvSpPr>
            <p:nvPr/>
          </p:nvSpPr>
          <p:spPr bwMode="auto">
            <a:xfrm>
              <a:off x="3713165" y="1846697"/>
              <a:ext cx="1073020" cy="188097"/>
            </a:xfrm>
            <a:prstGeom prst="roundRect">
              <a:avLst>
                <a:gd name="adj" fmla="val 9963"/>
              </a:avLst>
            </a:prstGeom>
            <a:noFill/>
            <a:ln>
              <a:noFill/>
            </a:ln>
            <a:effectLst/>
            <a:scene3d>
              <a:camera prst="orthographicFront">
                <a:rot lat="1200000" lon="900000" rev="0"/>
              </a:camera>
              <a:lightRig rig="threePt" dir="t"/>
            </a:scene3d>
          </p:spPr>
          <p:txBody>
            <a:bodyPr wrap="none" anchor="ctr"/>
            <a:lstStyle/>
            <a:p>
              <a:pPr algn="ctr" eaLnBrk="0" hangingPunct="0">
                <a:defRPr/>
              </a:pPr>
              <a:r>
                <a:rPr lang="en-US" sz="1200" dirty="0" smtClean="0">
                  <a:latin typeface="Marker Felt"/>
                  <a:cs typeface="Bangla MN"/>
                </a:rPr>
                <a:t>Flume</a:t>
              </a:r>
              <a:endParaRPr lang="en-US" sz="1200" dirty="0">
                <a:latin typeface="Marker Felt"/>
                <a:cs typeface="Bangla MN"/>
              </a:endParaRPr>
            </a:p>
          </p:txBody>
        </p:sp>
        <p:sp>
          <p:nvSpPr>
            <p:cNvPr id="29" name="AutoShape 36"/>
            <p:cNvSpPr>
              <a:spLocks noChangeArrowheads="1"/>
            </p:cNvSpPr>
            <p:nvPr/>
          </p:nvSpPr>
          <p:spPr bwMode="auto">
            <a:xfrm>
              <a:off x="3753827" y="3034538"/>
              <a:ext cx="1073150" cy="188119"/>
            </a:xfrm>
            <a:prstGeom prst="roundRect">
              <a:avLst>
                <a:gd name="adj" fmla="val 9963"/>
              </a:avLst>
            </a:prstGeom>
            <a:noFill/>
            <a:ln w="9525">
              <a:noFill/>
              <a:round/>
              <a:headEnd/>
              <a:tailEnd/>
            </a:ln>
          </p:spPr>
          <p:txBody>
            <a:bodyPr wrap="none" anchor="ctr"/>
            <a:lstStyle/>
            <a:p>
              <a:pPr algn="ctr" eaLnBrk="0" hangingPunct="0"/>
              <a:r>
                <a:rPr lang="en-US" sz="1200" dirty="0">
                  <a:latin typeface="Marker Felt"/>
                  <a:ea typeface="Andale Mono"/>
                  <a:cs typeface="Andale Mono"/>
                </a:rPr>
                <a:t>Hive</a:t>
              </a:r>
            </a:p>
          </p:txBody>
        </p:sp>
        <p:sp>
          <p:nvSpPr>
            <p:cNvPr id="30" name="AutoShape 36"/>
            <p:cNvSpPr>
              <a:spLocks noChangeArrowheads="1"/>
            </p:cNvSpPr>
            <p:nvPr/>
          </p:nvSpPr>
          <p:spPr bwMode="auto">
            <a:xfrm>
              <a:off x="4047518" y="2118947"/>
              <a:ext cx="549275" cy="188119"/>
            </a:xfrm>
            <a:prstGeom prst="roundRect">
              <a:avLst>
                <a:gd name="adj" fmla="val 9963"/>
              </a:avLst>
            </a:prstGeom>
            <a:noFill/>
            <a:ln w="9525">
              <a:noFill/>
              <a:round/>
              <a:headEnd/>
              <a:tailEnd/>
            </a:ln>
          </p:spPr>
          <p:txBody>
            <a:bodyPr wrap="none" anchor="ctr"/>
            <a:lstStyle/>
            <a:p>
              <a:pPr algn="ctr" eaLnBrk="0" hangingPunct="0"/>
              <a:r>
                <a:rPr lang="en-US" sz="1200">
                  <a:latin typeface="Marker Felt"/>
                  <a:ea typeface="Andale Mono"/>
                  <a:cs typeface="Andale Mono"/>
                </a:rPr>
                <a:t>Pig</a:t>
              </a:r>
            </a:p>
          </p:txBody>
        </p:sp>
        <p:sp>
          <p:nvSpPr>
            <p:cNvPr id="31" name="AutoShape 36"/>
            <p:cNvSpPr>
              <a:spLocks noChangeArrowheads="1"/>
            </p:cNvSpPr>
            <p:nvPr/>
          </p:nvSpPr>
          <p:spPr bwMode="auto">
            <a:xfrm>
              <a:off x="4993665" y="1508157"/>
              <a:ext cx="1073150" cy="188119"/>
            </a:xfrm>
            <a:prstGeom prst="roundRect">
              <a:avLst>
                <a:gd name="adj" fmla="val 9963"/>
              </a:avLst>
            </a:prstGeom>
            <a:noFill/>
            <a:ln w="9525">
              <a:noFill/>
              <a:round/>
              <a:headEnd/>
              <a:tailEnd/>
            </a:ln>
          </p:spPr>
          <p:txBody>
            <a:bodyPr wrap="none" anchor="ctr"/>
            <a:lstStyle/>
            <a:p>
              <a:pPr algn="ctr" eaLnBrk="0" hangingPunct="0"/>
              <a:r>
                <a:rPr lang="en-US" sz="1200" dirty="0" err="1">
                  <a:latin typeface="Marker Felt"/>
                </a:rPr>
                <a:t>MapReduce</a:t>
              </a:r>
              <a:endParaRPr lang="en-US" sz="1200" dirty="0">
                <a:latin typeface="Marker Felt"/>
              </a:endParaRPr>
            </a:p>
          </p:txBody>
        </p:sp>
        <p:sp>
          <p:nvSpPr>
            <p:cNvPr id="32" name="AutoShape 36"/>
            <p:cNvSpPr>
              <a:spLocks noChangeArrowheads="1"/>
            </p:cNvSpPr>
            <p:nvPr/>
          </p:nvSpPr>
          <p:spPr bwMode="auto">
            <a:xfrm>
              <a:off x="3996718" y="1466485"/>
              <a:ext cx="731837" cy="188119"/>
            </a:xfrm>
            <a:prstGeom prst="roundRect">
              <a:avLst>
                <a:gd name="adj" fmla="val 9963"/>
              </a:avLst>
            </a:prstGeom>
            <a:noFill/>
            <a:ln w="9525">
              <a:noFill/>
              <a:round/>
              <a:headEnd/>
              <a:tailEnd/>
            </a:ln>
          </p:spPr>
          <p:txBody>
            <a:bodyPr wrap="none" anchor="ctr"/>
            <a:lstStyle/>
            <a:p>
              <a:pPr algn="ctr" eaLnBrk="0" hangingPunct="0"/>
              <a:r>
                <a:rPr lang="en-US" sz="1200" dirty="0">
                  <a:latin typeface="Marker Felt"/>
                  <a:ea typeface="Apple Casual"/>
                  <a:cs typeface="Apple Casual"/>
                </a:rPr>
                <a:t>HDFS</a:t>
              </a:r>
            </a:p>
          </p:txBody>
        </p:sp>
        <p:sp>
          <p:nvSpPr>
            <p:cNvPr id="33" name="AutoShape 36"/>
            <p:cNvSpPr>
              <a:spLocks noChangeArrowheads="1"/>
            </p:cNvSpPr>
            <p:nvPr/>
          </p:nvSpPr>
          <p:spPr bwMode="auto">
            <a:xfrm>
              <a:off x="5106507" y="1998875"/>
              <a:ext cx="1073020" cy="188097"/>
            </a:xfrm>
            <a:prstGeom prst="roundRect">
              <a:avLst>
                <a:gd name="adj" fmla="val 9963"/>
              </a:avLst>
            </a:prstGeom>
            <a:noFill/>
            <a:ln>
              <a:noFill/>
            </a:ln>
            <a:effectLst/>
            <a:scene3d>
              <a:camera prst="orthographicFront">
                <a:rot lat="0" lon="19499990" rev="0"/>
              </a:camera>
              <a:lightRig rig="threePt" dir="t"/>
            </a:scene3d>
          </p:spPr>
          <p:txBody>
            <a:bodyPr wrap="none" anchor="ctr"/>
            <a:lstStyle/>
            <a:p>
              <a:pPr algn="ctr" eaLnBrk="0" hangingPunct="0">
                <a:defRPr/>
              </a:pPr>
              <a:r>
                <a:rPr lang="en-US" sz="1200" dirty="0">
                  <a:latin typeface="Marker Felt"/>
                  <a:cs typeface="MS PGothic" charset="0"/>
                </a:rPr>
                <a:t>Zookeeper</a:t>
              </a:r>
            </a:p>
          </p:txBody>
        </p:sp>
        <p:sp>
          <p:nvSpPr>
            <p:cNvPr id="34" name="AutoShape 36"/>
            <p:cNvSpPr>
              <a:spLocks noChangeArrowheads="1"/>
            </p:cNvSpPr>
            <p:nvPr/>
          </p:nvSpPr>
          <p:spPr bwMode="auto">
            <a:xfrm>
              <a:off x="3818610" y="2351684"/>
              <a:ext cx="1073020" cy="188097"/>
            </a:xfrm>
            <a:prstGeom prst="roundRect">
              <a:avLst>
                <a:gd name="adj" fmla="val 9963"/>
              </a:avLst>
            </a:prstGeom>
            <a:noFill/>
            <a:ln>
              <a:noFill/>
            </a:ln>
            <a:effectLst/>
            <a:scene3d>
              <a:camera prst="orthographicFront">
                <a:rot lat="600000" lon="20399993" rev="0"/>
              </a:camera>
              <a:lightRig rig="threePt" dir="t"/>
            </a:scene3d>
          </p:spPr>
          <p:txBody>
            <a:bodyPr wrap="none" anchor="ctr"/>
            <a:lstStyle/>
            <a:p>
              <a:pPr algn="ctr" eaLnBrk="0" hangingPunct="0">
                <a:defRPr/>
              </a:pPr>
              <a:r>
                <a:rPr lang="en-US" sz="1600" dirty="0">
                  <a:latin typeface="Marker Felt"/>
                  <a:cs typeface="MS PGothic" charset="0"/>
                </a:rPr>
                <a:t>Oozie</a:t>
              </a:r>
            </a:p>
          </p:txBody>
        </p:sp>
        <p:grpSp>
          <p:nvGrpSpPr>
            <p:cNvPr id="35" name="Group 2"/>
            <p:cNvGrpSpPr/>
            <p:nvPr/>
          </p:nvGrpSpPr>
          <p:grpSpPr bwMode="auto">
            <a:xfrm>
              <a:off x="2376344" y="2087422"/>
              <a:ext cx="1081312" cy="612942"/>
              <a:chOff x="413492" y="3508931"/>
              <a:chExt cx="1081443" cy="817355"/>
            </a:xfrm>
            <a:effectLst/>
            <a:scene3d>
              <a:camera prst="orthographicFront">
                <a:rot lat="0" lon="20999997" rev="0"/>
              </a:camera>
              <a:lightRig rig="threePt" dir="t"/>
            </a:scene3d>
          </p:grpSpPr>
          <p:sp>
            <p:nvSpPr>
              <p:cNvPr id="41" name="AutoShape 36"/>
              <p:cNvSpPr>
                <a:spLocks noChangeArrowheads="1"/>
              </p:cNvSpPr>
              <p:nvPr/>
            </p:nvSpPr>
            <p:spPr bwMode="auto">
              <a:xfrm>
                <a:off x="417462" y="3508931"/>
                <a:ext cx="1073150" cy="250826"/>
              </a:xfrm>
              <a:prstGeom prst="roundRect">
                <a:avLst>
                  <a:gd name="adj" fmla="val 9963"/>
                </a:avLst>
              </a:prstGeom>
              <a:noFill/>
              <a:ln>
                <a:noFill/>
              </a:ln>
              <a:effectLst>
                <a:outerShdw blurRad="63500" dist="26260" dir="3679611" algn="ctr" rotWithShape="0">
                  <a:srgbClr val="000000">
                    <a:alpha val="35036"/>
                  </a:srgbClr>
                </a:outerShdw>
              </a:effectLst>
            </p:spPr>
            <p:txBody>
              <a:bodyPr wrap="none" anchor="ctr"/>
              <a:lstStyle/>
              <a:p>
                <a:pPr algn="ctr" eaLnBrk="0" hangingPunct="0">
                  <a:defRPr/>
                </a:pPr>
                <a:r>
                  <a:rPr lang="en-US" sz="1100" dirty="0">
                    <a:latin typeface="Marker Felt"/>
                    <a:cs typeface="Arial Black"/>
                  </a:rPr>
                  <a:t>HBase</a:t>
                </a:r>
              </a:p>
            </p:txBody>
          </p:sp>
          <p:sp>
            <p:nvSpPr>
              <p:cNvPr id="42" name="AutoShape 36"/>
              <p:cNvSpPr>
                <a:spLocks noChangeArrowheads="1"/>
              </p:cNvSpPr>
              <p:nvPr/>
            </p:nvSpPr>
            <p:spPr bwMode="auto">
              <a:xfrm>
                <a:off x="413492" y="3771203"/>
                <a:ext cx="1073150" cy="250826"/>
              </a:xfrm>
              <a:prstGeom prst="roundRect">
                <a:avLst>
                  <a:gd name="adj" fmla="val 9963"/>
                </a:avLst>
              </a:prstGeom>
              <a:noFill/>
              <a:ln>
                <a:noFill/>
              </a:ln>
              <a:effectLst>
                <a:outerShdw blurRad="63500" dist="26260" dir="3679611" algn="ctr" rotWithShape="0">
                  <a:srgbClr val="000000">
                    <a:alpha val="35036"/>
                  </a:srgbClr>
                </a:outerShdw>
              </a:effectLst>
            </p:spPr>
            <p:txBody>
              <a:bodyPr wrap="none" anchor="ctr"/>
              <a:lstStyle/>
              <a:p>
                <a:pPr algn="ctr" eaLnBrk="0" hangingPunct="0">
                  <a:defRPr/>
                </a:pPr>
                <a:r>
                  <a:rPr lang="en-US" sz="1100" dirty="0">
                    <a:latin typeface="Marker Felt"/>
                    <a:cs typeface="Arial Black"/>
                  </a:rPr>
                  <a:t>Lucene</a:t>
                </a:r>
              </a:p>
            </p:txBody>
          </p:sp>
          <p:sp>
            <p:nvSpPr>
              <p:cNvPr id="43" name="AutoShape 36"/>
              <p:cNvSpPr>
                <a:spLocks noChangeArrowheads="1"/>
              </p:cNvSpPr>
              <p:nvPr/>
            </p:nvSpPr>
            <p:spPr bwMode="auto">
              <a:xfrm>
                <a:off x="421785" y="4075460"/>
                <a:ext cx="1073150" cy="250826"/>
              </a:xfrm>
              <a:prstGeom prst="roundRect">
                <a:avLst>
                  <a:gd name="adj" fmla="val 9963"/>
                </a:avLst>
              </a:prstGeom>
              <a:noFill/>
              <a:ln>
                <a:noFill/>
              </a:ln>
              <a:effectLst>
                <a:outerShdw blurRad="63500" dist="26260" dir="3679611" algn="ctr" rotWithShape="0">
                  <a:srgbClr val="000000">
                    <a:alpha val="35036"/>
                  </a:srgbClr>
                </a:outerShdw>
              </a:effectLst>
            </p:spPr>
            <p:txBody>
              <a:bodyPr wrap="none" anchor="ctr"/>
              <a:lstStyle/>
              <a:p>
                <a:pPr algn="ctr" eaLnBrk="0" hangingPunct="0">
                  <a:defRPr/>
                </a:pPr>
                <a:r>
                  <a:rPr lang="en-US" sz="1100" dirty="0">
                    <a:latin typeface="Marker Felt"/>
                    <a:cs typeface="Arial Black"/>
                  </a:rPr>
                  <a:t>Sqoop</a:t>
                </a:r>
              </a:p>
            </p:txBody>
          </p:sp>
        </p:grpSp>
        <p:sp>
          <p:nvSpPr>
            <p:cNvPr id="36" name="AutoShape 36"/>
            <p:cNvSpPr>
              <a:spLocks noChangeArrowheads="1"/>
            </p:cNvSpPr>
            <p:nvPr/>
          </p:nvSpPr>
          <p:spPr bwMode="auto">
            <a:xfrm>
              <a:off x="2361589" y="1671272"/>
              <a:ext cx="1074738" cy="188119"/>
            </a:xfrm>
            <a:prstGeom prst="roundRect">
              <a:avLst>
                <a:gd name="adj" fmla="val 9963"/>
              </a:avLst>
            </a:prstGeom>
            <a:noFill/>
            <a:ln w="9525">
              <a:noFill/>
              <a:round/>
              <a:headEnd/>
              <a:tailEnd/>
            </a:ln>
          </p:spPr>
          <p:txBody>
            <a:bodyPr wrap="none" anchor="ctr"/>
            <a:lstStyle/>
            <a:p>
              <a:pPr algn="ctr" eaLnBrk="0" hangingPunct="0"/>
              <a:r>
                <a:rPr lang="en-US" sz="1200" dirty="0" err="1">
                  <a:latin typeface="Marker Felt"/>
                </a:rPr>
                <a:t>HCatalog</a:t>
              </a:r>
              <a:endParaRPr lang="en-US" sz="2000" dirty="0">
                <a:latin typeface="Marker Felt"/>
              </a:endParaRPr>
            </a:p>
          </p:txBody>
        </p:sp>
        <p:sp>
          <p:nvSpPr>
            <p:cNvPr id="37" name="AutoShape 36"/>
            <p:cNvSpPr>
              <a:spLocks noChangeArrowheads="1"/>
            </p:cNvSpPr>
            <p:nvPr/>
          </p:nvSpPr>
          <p:spPr bwMode="auto">
            <a:xfrm>
              <a:off x="2393269" y="1308846"/>
              <a:ext cx="754527" cy="215561"/>
            </a:xfrm>
            <a:prstGeom prst="roundRect">
              <a:avLst>
                <a:gd name="adj" fmla="val 9963"/>
              </a:avLst>
            </a:prstGeom>
            <a:noFill/>
            <a:ln>
              <a:noFill/>
            </a:ln>
            <a:effectLst/>
            <a:scene3d>
              <a:camera prst="orthographicFront">
                <a:rot lat="0" lon="1200000" rev="0"/>
              </a:camera>
              <a:lightRig rig="threePt" dir="t"/>
            </a:scene3d>
          </p:spPr>
          <p:txBody>
            <a:bodyPr wrap="none" anchor="ctr"/>
            <a:lstStyle/>
            <a:p>
              <a:pPr algn="ctr" eaLnBrk="0" hangingPunct="0">
                <a:defRPr/>
              </a:pPr>
              <a:r>
                <a:rPr lang="en-US" sz="1600" dirty="0">
                  <a:latin typeface="Marker Felt"/>
                  <a:cs typeface="Myriad Pro Semibold"/>
                </a:rPr>
                <a:t>Hadoop</a:t>
              </a:r>
            </a:p>
          </p:txBody>
        </p:sp>
        <p:sp>
          <p:nvSpPr>
            <p:cNvPr id="38" name="AutoShape 40"/>
            <p:cNvSpPr>
              <a:spLocks noChangeArrowheads="1"/>
            </p:cNvSpPr>
            <p:nvPr/>
          </p:nvSpPr>
          <p:spPr bwMode="auto">
            <a:xfrm>
              <a:off x="5168293" y="3007152"/>
              <a:ext cx="1196975" cy="309254"/>
            </a:xfrm>
            <a:prstGeom prst="roundRect">
              <a:avLst>
                <a:gd name="adj" fmla="val 9963"/>
              </a:avLst>
            </a:prstGeom>
            <a:noFill/>
            <a:ln w="9525">
              <a:noFill/>
              <a:round/>
              <a:headEnd/>
              <a:tailEnd/>
            </a:ln>
          </p:spPr>
          <p:txBody>
            <a:bodyPr wrap="none" anchor="ctr"/>
            <a:lstStyle/>
            <a:p>
              <a:pPr algn="ctr" eaLnBrk="0" hangingPunct="0"/>
              <a:r>
                <a:rPr lang="en-US" sz="1200" dirty="0">
                  <a:latin typeface="Marker Felt"/>
                  <a:ea typeface="Bangla MN"/>
                  <a:cs typeface="Bangla MN"/>
                </a:rPr>
                <a:t>Development </a:t>
              </a:r>
            </a:p>
            <a:p>
              <a:pPr algn="ctr" eaLnBrk="0" hangingPunct="0"/>
              <a:r>
                <a:rPr lang="en-US" sz="1200" dirty="0">
                  <a:latin typeface="Marker Felt"/>
                  <a:ea typeface="Bangla MN"/>
                  <a:cs typeface="Bangla MN"/>
                </a:rPr>
                <a:t>Tools</a:t>
              </a:r>
            </a:p>
          </p:txBody>
        </p:sp>
        <p:sp>
          <p:nvSpPr>
            <p:cNvPr id="39" name="AutoShape 40"/>
            <p:cNvSpPr>
              <a:spLocks noChangeArrowheads="1"/>
            </p:cNvSpPr>
            <p:nvPr/>
          </p:nvSpPr>
          <p:spPr bwMode="auto">
            <a:xfrm>
              <a:off x="5076176" y="2548547"/>
              <a:ext cx="1059894" cy="217859"/>
            </a:xfrm>
            <a:prstGeom prst="roundRect">
              <a:avLst>
                <a:gd name="adj" fmla="val 9963"/>
              </a:avLst>
            </a:prstGeom>
            <a:noFill/>
            <a:ln>
              <a:noFill/>
            </a:ln>
            <a:effectLst/>
            <a:scene3d>
              <a:camera prst="orthographicFront">
                <a:rot lat="0" lon="1500000" rev="0"/>
              </a:camera>
              <a:lightRig rig="threePt" dir="t"/>
            </a:scene3d>
          </p:spPr>
          <p:txBody>
            <a:bodyPr wrap="none" anchor="ctr"/>
            <a:lstStyle/>
            <a:p>
              <a:pPr algn="ctr" eaLnBrk="0" hangingPunct="0">
                <a:defRPr/>
              </a:pPr>
              <a:r>
                <a:rPr lang="en-US" sz="1600" dirty="0">
                  <a:latin typeface="Marker Felt"/>
                  <a:cs typeface="Marker Felt"/>
                </a:rPr>
                <a:t>Admin &amp; </a:t>
              </a:r>
            </a:p>
            <a:p>
              <a:pPr algn="ctr" eaLnBrk="0" hangingPunct="0">
                <a:defRPr/>
              </a:pPr>
              <a:r>
                <a:rPr lang="en-US" sz="1600" dirty="0">
                  <a:latin typeface="Marker Felt"/>
                  <a:cs typeface="Marker Felt"/>
                </a:rPr>
                <a:t>Security</a:t>
              </a:r>
            </a:p>
          </p:txBody>
        </p:sp>
        <p:sp>
          <p:nvSpPr>
            <p:cNvPr id="40" name="AutoShape 36"/>
            <p:cNvSpPr>
              <a:spLocks noChangeArrowheads="1"/>
            </p:cNvSpPr>
            <p:nvPr/>
          </p:nvSpPr>
          <p:spPr bwMode="auto">
            <a:xfrm>
              <a:off x="2447137" y="2980172"/>
              <a:ext cx="1073020" cy="188097"/>
            </a:xfrm>
            <a:prstGeom prst="roundRect">
              <a:avLst>
                <a:gd name="adj" fmla="val 9963"/>
              </a:avLst>
            </a:prstGeom>
            <a:noFill/>
            <a:ln>
              <a:noFill/>
            </a:ln>
            <a:effectLst/>
            <a:scene3d>
              <a:camera prst="orthographicFront">
                <a:rot lat="0" lon="20399994" rev="0"/>
              </a:camera>
              <a:lightRig rig="threePt" dir="t"/>
            </a:scene3d>
          </p:spPr>
          <p:txBody>
            <a:bodyPr wrap="none" anchor="ctr"/>
            <a:lstStyle/>
            <a:p>
              <a:pPr algn="ctr" eaLnBrk="0" hangingPunct="0">
                <a:defRPr/>
              </a:pPr>
              <a:r>
                <a:rPr lang="en-US" sz="1400" dirty="0">
                  <a:latin typeface="Marker Felt"/>
                  <a:cs typeface="Arial Black"/>
                </a:rPr>
                <a:t>Network</a:t>
              </a:r>
            </a:p>
          </p:txBody>
        </p:sp>
      </p:grpSp>
    </p:spTree>
    <p:extLst>
      <p:ext uri="{BB962C8B-B14F-4D97-AF65-F5344CB8AC3E}">
        <p14:creationId xmlns:p14="http://schemas.microsoft.com/office/powerpoint/2010/main" val="3858379988"/>
      </p:ext>
    </p:extLst>
  </p:cSld>
  <p:clrMapOvr>
    <a:masterClrMapping/>
  </p:clrMapOvr>
  <p:transition spd="med"/>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1288256"/>
            <a:ext cx="9144000" cy="3855244"/>
          </a:xfrm>
          <a:prstGeom prst="rect">
            <a:avLst/>
          </a:prstGeom>
          <a:solidFill>
            <a:srgbClr val="EB6D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10248" name="Title 2"/>
          <p:cNvSpPr>
            <a:spLocks noGrp="1"/>
          </p:cNvSpPr>
          <p:nvPr>
            <p:ph type="title"/>
          </p:nvPr>
        </p:nvSpPr>
        <p:spPr/>
        <p:txBody>
          <a:bodyPr/>
          <a:lstStyle/>
          <a:p>
            <a:r>
              <a:rPr lang="en-US" dirty="0" smtClean="0"/>
              <a:t>IBM BigInsights on Cloud</a:t>
            </a:r>
            <a:endParaRPr lang="en-US" dirty="0"/>
          </a:p>
        </p:txBody>
      </p:sp>
      <p:sp>
        <p:nvSpPr>
          <p:cNvPr id="32" name="Content Placeholder 31"/>
          <p:cNvSpPr>
            <a:spLocks noGrp="1"/>
          </p:cNvSpPr>
          <p:nvPr>
            <p:ph idx="1"/>
          </p:nvPr>
        </p:nvSpPr>
        <p:spPr/>
        <p:txBody>
          <a:bodyPr/>
          <a:lstStyle/>
          <a:p>
            <a:endParaRPr lang="en-AU"/>
          </a:p>
        </p:txBody>
      </p:sp>
      <p:pic>
        <p:nvPicPr>
          <p:cNvPr id="13" name="Picture 6"/>
          <p:cNvPicPr>
            <a:picLocks noChangeAspect="1"/>
          </p:cNvPicPr>
          <p:nvPr/>
        </p:nvPicPr>
        <p:blipFill rotWithShape="1">
          <a:blip r:embed="rId3" cstate="print">
            <a:duotone>
              <a:prstClr val="black"/>
              <a:srgbClr val="D9C3A5">
                <a:tint val="50000"/>
                <a:satMod val="180000"/>
              </a:srgbClr>
            </a:duotone>
            <a:extLst>
              <a:ext uri="{28A0092B-C50C-407E-A947-70E740481C1C}">
                <a14:useLocalDpi xmlns:a14="http://schemas.microsoft.com/office/drawing/2010/main"/>
              </a:ext>
            </a:extLst>
          </a:blip>
          <a:srcRect b="-307"/>
          <a:stretch/>
        </p:blipFill>
        <p:spPr bwMode="auto">
          <a:xfrm>
            <a:off x="0" y="1288256"/>
            <a:ext cx="5876598" cy="3855244"/>
          </a:xfrm>
          <a:prstGeom prst="rect">
            <a:avLst/>
          </a:prstGeom>
          <a:solidFill>
            <a:srgbClr val="0A5889"/>
          </a:solidFill>
          <a:ln>
            <a:noFill/>
          </a:ln>
          <a:extLst/>
        </p:spPr>
      </p:pic>
      <p:sp>
        <p:nvSpPr>
          <p:cNvPr id="10244" name="Rectangle 92"/>
          <p:cNvSpPr>
            <a:spLocks noChangeArrowheads="1"/>
          </p:cNvSpPr>
          <p:nvPr/>
        </p:nvSpPr>
        <p:spPr bwMode="auto">
          <a:xfrm>
            <a:off x="4940300" y="1538287"/>
            <a:ext cx="4103688" cy="3651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nSpc>
                <a:spcPct val="130000"/>
              </a:lnSpc>
              <a:spcAft>
                <a:spcPts val="188"/>
              </a:spcAft>
              <a:buFont typeface="Wingdings" charset="0"/>
              <a:buNone/>
            </a:pPr>
            <a:r>
              <a:rPr lang="en-US" sz="2000" b="1" dirty="0">
                <a:solidFill>
                  <a:srgbClr val="FFFFFF"/>
                </a:solidFill>
              </a:rPr>
              <a:t>For apps that need:</a:t>
            </a:r>
          </a:p>
          <a:p>
            <a:pPr marL="1200150" lvl="2" indent="-285750">
              <a:lnSpc>
                <a:spcPct val="120000"/>
              </a:lnSpc>
              <a:spcAft>
                <a:spcPts val="188"/>
              </a:spcAft>
              <a:buFont typeface="Arial" charset="0"/>
              <a:buChar char="•"/>
            </a:pPr>
            <a:r>
              <a:rPr lang="en-US" sz="1400" dirty="0">
                <a:solidFill>
                  <a:srgbClr val="FFFFFF"/>
                </a:solidFill>
              </a:rPr>
              <a:t>Elastic scalability</a:t>
            </a:r>
          </a:p>
          <a:p>
            <a:pPr marL="1200150" lvl="2" indent="-285750">
              <a:lnSpc>
                <a:spcPct val="120000"/>
              </a:lnSpc>
              <a:spcAft>
                <a:spcPts val="188"/>
              </a:spcAft>
              <a:buFont typeface="Arial" charset="0"/>
              <a:buChar char="•"/>
            </a:pPr>
            <a:r>
              <a:rPr lang="en-US" sz="1400" dirty="0">
                <a:solidFill>
                  <a:srgbClr val="FFFFFF"/>
                </a:solidFill>
              </a:rPr>
              <a:t>High availability</a:t>
            </a:r>
          </a:p>
          <a:p>
            <a:pPr marL="1200150" lvl="2" indent="-285750">
              <a:lnSpc>
                <a:spcPct val="120000"/>
              </a:lnSpc>
              <a:spcAft>
                <a:spcPts val="188"/>
              </a:spcAft>
              <a:buFont typeface="Arial" charset="0"/>
              <a:buChar char="•"/>
            </a:pPr>
            <a:r>
              <a:rPr lang="en-US" sz="1400" dirty="0">
                <a:solidFill>
                  <a:srgbClr val="FFFFFF"/>
                </a:solidFill>
              </a:rPr>
              <a:t>Data model flexibility</a:t>
            </a:r>
          </a:p>
          <a:p>
            <a:pPr marL="1200150" lvl="2" indent="-285750">
              <a:lnSpc>
                <a:spcPct val="120000"/>
              </a:lnSpc>
              <a:spcAft>
                <a:spcPts val="188"/>
              </a:spcAft>
              <a:buFont typeface="Arial" charset="0"/>
              <a:buChar char="•"/>
            </a:pPr>
            <a:r>
              <a:rPr lang="en-US" sz="1400" dirty="0">
                <a:solidFill>
                  <a:srgbClr val="FFFFFF"/>
                </a:solidFill>
              </a:rPr>
              <a:t>Data mobility</a:t>
            </a:r>
          </a:p>
          <a:p>
            <a:pPr marL="1200150" lvl="2" indent="-285750">
              <a:lnSpc>
                <a:spcPct val="120000"/>
              </a:lnSpc>
              <a:spcAft>
                <a:spcPts val="188"/>
              </a:spcAft>
              <a:buFont typeface="Arial" charset="0"/>
              <a:buChar char="•"/>
            </a:pPr>
            <a:r>
              <a:rPr lang="en-US" sz="1400" dirty="0">
                <a:solidFill>
                  <a:srgbClr val="FFFFFF"/>
                </a:solidFill>
              </a:rPr>
              <a:t>Text search</a:t>
            </a:r>
          </a:p>
          <a:p>
            <a:pPr marL="1200150" lvl="2" indent="-285750">
              <a:lnSpc>
                <a:spcPct val="120000"/>
              </a:lnSpc>
              <a:spcAft>
                <a:spcPts val="188"/>
              </a:spcAft>
              <a:buFont typeface="Arial" charset="0"/>
              <a:buChar char="•"/>
            </a:pPr>
            <a:r>
              <a:rPr lang="en-US" sz="1400" dirty="0">
                <a:solidFill>
                  <a:srgbClr val="FFFFFF"/>
                </a:solidFill>
              </a:rPr>
              <a:t>Geospatial</a:t>
            </a:r>
            <a:r>
              <a:rPr lang="en-US" sz="2400" dirty="0">
                <a:solidFill>
                  <a:srgbClr val="FFFFFF"/>
                </a:solidFill>
              </a:rPr>
              <a:t> </a:t>
            </a:r>
          </a:p>
          <a:p>
            <a:pPr>
              <a:lnSpc>
                <a:spcPct val="130000"/>
              </a:lnSpc>
              <a:buFont typeface="Wingdings" charset="0"/>
              <a:buNone/>
            </a:pPr>
            <a:endParaRPr lang="en-US" sz="800" dirty="0">
              <a:solidFill>
                <a:srgbClr val="FFFFFF"/>
              </a:solidFill>
            </a:endParaRPr>
          </a:p>
          <a:p>
            <a:pPr>
              <a:lnSpc>
                <a:spcPct val="130000"/>
              </a:lnSpc>
              <a:buFont typeface="Wingdings" charset="0"/>
              <a:buNone/>
            </a:pPr>
            <a:r>
              <a:rPr lang="en-US" sz="2000" b="1" dirty="0">
                <a:solidFill>
                  <a:srgbClr val="FFFFFF"/>
                </a:solidFill>
              </a:rPr>
              <a:t>Available as:</a:t>
            </a:r>
          </a:p>
          <a:p>
            <a:pPr marL="1200150" lvl="2" indent="-285750">
              <a:lnSpc>
                <a:spcPct val="120000"/>
              </a:lnSpc>
              <a:buFont typeface="Arial" charset="0"/>
              <a:buChar char="•"/>
            </a:pPr>
            <a:r>
              <a:rPr lang="en-US" sz="1400" dirty="0">
                <a:solidFill>
                  <a:srgbClr val="FFFFFF"/>
                </a:solidFill>
              </a:rPr>
              <a:t>Fully managed </a:t>
            </a:r>
            <a:r>
              <a:rPr lang="en-US" sz="1400" dirty="0" err="1">
                <a:solidFill>
                  <a:srgbClr val="FFFFFF"/>
                </a:solidFill>
              </a:rPr>
              <a:t>DBaaS</a:t>
            </a:r>
            <a:endParaRPr lang="en-US" sz="1400" dirty="0">
              <a:solidFill>
                <a:srgbClr val="FFFFFF"/>
              </a:solidFill>
            </a:endParaRPr>
          </a:p>
          <a:p>
            <a:pPr marL="1200150" lvl="2" indent="-285750">
              <a:lnSpc>
                <a:spcPct val="120000"/>
              </a:lnSpc>
              <a:buFont typeface="Arial" charset="0"/>
              <a:buChar char="•"/>
            </a:pPr>
            <a:r>
              <a:rPr lang="en-US" sz="1400" dirty="0">
                <a:solidFill>
                  <a:srgbClr val="FFFFFF"/>
                </a:solidFill>
              </a:rPr>
              <a:t>On-premises private cloud</a:t>
            </a:r>
          </a:p>
          <a:p>
            <a:pPr marL="1200150" lvl="2" indent="-285750">
              <a:lnSpc>
                <a:spcPct val="120000"/>
              </a:lnSpc>
              <a:buFont typeface="Arial" charset="0"/>
              <a:buChar char="•"/>
            </a:pPr>
            <a:r>
              <a:rPr lang="en-US" sz="1400" dirty="0">
                <a:solidFill>
                  <a:srgbClr val="FFFFFF"/>
                </a:solidFill>
              </a:rPr>
              <a:t>Hybrid architecture</a:t>
            </a:r>
          </a:p>
        </p:txBody>
      </p:sp>
      <p:pic>
        <p:nvPicPr>
          <p:cNvPr id="10245" name="Picture 2" descr="C:\Users\IBM_ADMIN\Desktop\IBM GRAPHICS\Events\Interconnect\2015\Presentations\0115 Keynotes\Big Data\supprt\hex-bg.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flipH="1">
            <a:off x="4069394" y="1289448"/>
            <a:ext cx="5074606" cy="3854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p:cNvGrpSpPr>
            <a:grpSpLocks/>
          </p:cNvGrpSpPr>
          <p:nvPr/>
        </p:nvGrpSpPr>
        <p:grpSpPr bwMode="auto">
          <a:xfrm>
            <a:off x="905807" y="1758709"/>
            <a:ext cx="1476375" cy="578644"/>
            <a:chOff x="2186587" y="2668"/>
            <a:chExt cx="2459910" cy="1283450"/>
          </a:xfrm>
        </p:grpSpPr>
        <p:sp>
          <p:nvSpPr>
            <p:cNvPr id="17" name="Rounded Rectangle 16"/>
            <p:cNvSpPr>
              <a:spLocks noChangeArrowheads="1"/>
            </p:cNvSpPr>
            <p:nvPr/>
          </p:nvSpPr>
          <p:spPr bwMode="auto">
            <a:xfrm>
              <a:off x="2186587" y="2668"/>
              <a:ext cx="2459910" cy="1283450"/>
            </a:xfrm>
            <a:prstGeom prst="roundRect">
              <a:avLst>
                <a:gd name="adj" fmla="val 16667"/>
              </a:avLst>
            </a:prstGeom>
            <a:solidFill>
              <a:srgbClr val="0D4476"/>
            </a:solidFill>
            <a:ln w="38100">
              <a:solidFill>
                <a:srgbClr val="FFFFFF"/>
              </a:solidFill>
              <a:round/>
              <a:headEnd/>
              <a:tailEnd/>
            </a:ln>
            <a:effectLst>
              <a:outerShdw blurRad="40000" dist="20000" dir="5400000" rotWithShape="0">
                <a:srgbClr val="808080">
                  <a:alpha val="37999"/>
                </a:srgbClr>
              </a:outerShdw>
            </a:effectLst>
          </p:spPr>
          <p:txBody>
            <a:bodyPr/>
            <a:lstStyle/>
            <a:p>
              <a:pPr>
                <a:defRPr/>
              </a:pPr>
              <a:endParaRPr lang="en-US" sz="1600">
                <a:latin typeface="Arial" charset="0"/>
                <a:ea typeface="ＭＳ Ｐゴシック" charset="0"/>
                <a:cs typeface="ＭＳ Ｐゴシック" charset="0"/>
              </a:endParaRPr>
            </a:p>
          </p:txBody>
        </p:sp>
        <p:sp>
          <p:nvSpPr>
            <p:cNvPr id="18" name="Rounded Rectangle 4"/>
            <p:cNvSpPr/>
            <p:nvPr/>
          </p:nvSpPr>
          <p:spPr>
            <a:xfrm>
              <a:off x="2250069" y="66048"/>
              <a:ext cx="2332947" cy="1156690"/>
            </a:xfrm>
            <a:prstGeom prst="rect">
              <a:avLst/>
            </a:prstGeom>
          </p:spPr>
          <p:style>
            <a:lnRef idx="0">
              <a:scrgbClr r="0" g="0" b="0"/>
            </a:lnRef>
            <a:fillRef idx="0">
              <a:scrgbClr r="0" g="0" b="0"/>
            </a:fillRef>
            <a:effectRef idx="0">
              <a:scrgbClr r="0" g="0" b="0"/>
            </a:effectRef>
            <a:fontRef idx="minor">
              <a:schemeClr val="lt1"/>
            </a:fontRef>
          </p:style>
          <p:txBody>
            <a:bodyPr lIns="68580" tIns="34290" rIns="68580" bIns="34290" spcCol="1270" anchor="ctr"/>
            <a:lstStyle/>
            <a:p>
              <a:pPr algn="ctr" defTabSz="800100">
                <a:lnSpc>
                  <a:spcPct val="90000"/>
                </a:lnSpc>
                <a:spcAft>
                  <a:spcPct val="35000"/>
                </a:spcAft>
                <a:defRPr/>
              </a:pPr>
              <a:r>
                <a:rPr lang="en-US" sz="1200" dirty="0" smtClean="0">
                  <a:solidFill>
                    <a:srgbClr val="FFFFFF"/>
                  </a:solidFill>
                  <a:latin typeface="Helvetica Neue Light" charset="0"/>
                  <a:ea typeface="Helvetica Neue Light" charset="0"/>
                  <a:cs typeface="Helvetica Neue Light" charset="0"/>
                </a:rPr>
                <a:t>IBM Open Platform</a:t>
              </a:r>
              <a:br>
                <a:rPr lang="en-US" sz="1200" dirty="0" smtClean="0">
                  <a:solidFill>
                    <a:srgbClr val="FFFFFF"/>
                  </a:solidFill>
                  <a:latin typeface="Helvetica Neue Light" charset="0"/>
                  <a:ea typeface="Helvetica Neue Light" charset="0"/>
                  <a:cs typeface="Helvetica Neue Light" charset="0"/>
                </a:rPr>
              </a:br>
              <a:r>
                <a:rPr lang="en-US" sz="1200" dirty="0" smtClean="0">
                  <a:solidFill>
                    <a:srgbClr val="FFFFFF"/>
                  </a:solidFill>
                  <a:latin typeface="Helvetica Neue Light" charset="0"/>
                  <a:ea typeface="Helvetica Neue Light" charset="0"/>
                  <a:cs typeface="Helvetica Neue Light" charset="0"/>
                </a:rPr>
                <a:t>(</a:t>
              </a:r>
              <a:r>
                <a:rPr lang="en-US" sz="1200" b="1" dirty="0" smtClean="0">
                  <a:solidFill>
                    <a:srgbClr val="FFFFFF"/>
                  </a:solidFill>
                  <a:latin typeface="Helvetica Neue Light" charset="0"/>
                  <a:ea typeface="Helvetica Neue Light" charset="0"/>
                  <a:cs typeface="Helvetica Neue Light" charset="0"/>
                </a:rPr>
                <a:t>IOP</a:t>
              </a:r>
              <a:r>
                <a:rPr lang="en-US" sz="1200" dirty="0" smtClean="0">
                  <a:solidFill>
                    <a:srgbClr val="FFFFFF"/>
                  </a:solidFill>
                  <a:latin typeface="Helvetica Neue Light" charset="0"/>
                  <a:ea typeface="Helvetica Neue Light" charset="0"/>
                  <a:cs typeface="Helvetica Neue Light" charset="0"/>
                </a:rPr>
                <a:t>)</a:t>
              </a:r>
              <a:endParaRPr lang="en-US" sz="1200" dirty="0">
                <a:solidFill>
                  <a:srgbClr val="FFFFFF"/>
                </a:solidFill>
                <a:latin typeface="Helvetica Neue Light" charset="0"/>
                <a:ea typeface="Helvetica Neue Light" charset="0"/>
                <a:cs typeface="Helvetica Neue Light" charset="0"/>
              </a:endParaRPr>
            </a:p>
          </p:txBody>
        </p:sp>
      </p:grpSp>
      <p:grpSp>
        <p:nvGrpSpPr>
          <p:cNvPr id="4" name="Group 5"/>
          <p:cNvGrpSpPr>
            <a:grpSpLocks/>
          </p:cNvGrpSpPr>
          <p:nvPr/>
        </p:nvGrpSpPr>
        <p:grpSpPr bwMode="auto">
          <a:xfrm>
            <a:off x="905807" y="2526289"/>
            <a:ext cx="1476375" cy="578644"/>
            <a:chOff x="2186587" y="1350291"/>
            <a:chExt cx="2459910" cy="1283450"/>
          </a:xfrm>
        </p:grpSpPr>
        <p:sp>
          <p:nvSpPr>
            <p:cNvPr id="20" name="Rounded Rectangle 19"/>
            <p:cNvSpPr>
              <a:spLocks noChangeArrowheads="1"/>
            </p:cNvSpPr>
            <p:nvPr/>
          </p:nvSpPr>
          <p:spPr bwMode="auto">
            <a:xfrm>
              <a:off x="2186587" y="1350291"/>
              <a:ext cx="2459910" cy="1283450"/>
            </a:xfrm>
            <a:prstGeom prst="roundRect">
              <a:avLst>
                <a:gd name="adj" fmla="val 16667"/>
              </a:avLst>
            </a:prstGeom>
            <a:solidFill>
              <a:srgbClr val="EB781D"/>
            </a:solidFill>
            <a:ln w="38100">
              <a:solidFill>
                <a:srgbClr val="FFFFFF"/>
              </a:solidFill>
              <a:round/>
              <a:headEnd/>
              <a:tailEnd/>
            </a:ln>
            <a:effectLst>
              <a:outerShdw blurRad="40000" dist="20000" dir="5400000" rotWithShape="0">
                <a:srgbClr val="808080">
                  <a:alpha val="37999"/>
                </a:srgbClr>
              </a:outerShdw>
            </a:effectLst>
          </p:spPr>
          <p:txBody>
            <a:bodyPr/>
            <a:lstStyle/>
            <a:p>
              <a:pPr>
                <a:defRPr/>
              </a:pPr>
              <a:endParaRPr lang="en-US" sz="1600">
                <a:latin typeface="Arial" charset="0"/>
                <a:ea typeface="ＭＳ Ｐゴシック" charset="0"/>
                <a:cs typeface="ＭＳ Ｐゴシック" charset="0"/>
              </a:endParaRPr>
            </a:p>
          </p:txBody>
        </p:sp>
        <p:sp>
          <p:nvSpPr>
            <p:cNvPr id="21" name="Rounded Rectangle 6"/>
            <p:cNvSpPr/>
            <p:nvPr/>
          </p:nvSpPr>
          <p:spPr>
            <a:xfrm>
              <a:off x="2250069" y="1413671"/>
              <a:ext cx="2332947" cy="1156690"/>
            </a:xfrm>
            <a:prstGeom prst="rect">
              <a:avLst/>
            </a:prstGeom>
          </p:spPr>
          <p:style>
            <a:lnRef idx="0">
              <a:scrgbClr r="0" g="0" b="0"/>
            </a:lnRef>
            <a:fillRef idx="0">
              <a:scrgbClr r="0" g="0" b="0"/>
            </a:fillRef>
            <a:effectRef idx="0">
              <a:scrgbClr r="0" g="0" b="0"/>
            </a:effectRef>
            <a:fontRef idx="minor">
              <a:schemeClr val="lt1"/>
            </a:fontRef>
          </p:style>
          <p:txBody>
            <a:bodyPr lIns="68580" tIns="34290" rIns="68580" bIns="34290" spcCol="1270" anchor="ctr"/>
            <a:lstStyle/>
            <a:p>
              <a:pPr algn="ctr" defTabSz="800100">
                <a:lnSpc>
                  <a:spcPct val="90000"/>
                </a:lnSpc>
                <a:spcAft>
                  <a:spcPct val="35000"/>
                </a:spcAft>
                <a:defRPr/>
              </a:pPr>
              <a:r>
                <a:rPr lang="en-US" sz="1200" dirty="0" smtClean="0">
                  <a:solidFill>
                    <a:srgbClr val="FFFFFF"/>
                  </a:solidFill>
                  <a:latin typeface="Helvetica Neue Light" charset="0"/>
                  <a:ea typeface="Helvetica Neue Light" charset="0"/>
                  <a:cs typeface="Helvetica Neue Light" charset="0"/>
                </a:rPr>
                <a:t>Open Data Platform</a:t>
              </a:r>
              <a:br>
                <a:rPr lang="en-US" sz="1200" dirty="0" smtClean="0">
                  <a:solidFill>
                    <a:srgbClr val="FFFFFF"/>
                  </a:solidFill>
                  <a:latin typeface="Helvetica Neue Light" charset="0"/>
                  <a:ea typeface="Helvetica Neue Light" charset="0"/>
                  <a:cs typeface="Helvetica Neue Light" charset="0"/>
                </a:rPr>
              </a:br>
              <a:r>
                <a:rPr lang="en-US" sz="1200" dirty="0" smtClean="0">
                  <a:solidFill>
                    <a:srgbClr val="FFFFFF"/>
                  </a:solidFill>
                  <a:latin typeface="Helvetica Neue Light" charset="0"/>
                  <a:ea typeface="Helvetica Neue Light" charset="0"/>
                  <a:cs typeface="Helvetica Neue Light" charset="0"/>
                </a:rPr>
                <a:t>(</a:t>
              </a:r>
              <a:r>
                <a:rPr lang="en-US" sz="1200" b="1" dirty="0" err="1" smtClean="0">
                  <a:solidFill>
                    <a:srgbClr val="FFFFFF"/>
                  </a:solidFill>
                  <a:latin typeface="Helvetica Neue Light" charset="0"/>
                  <a:ea typeface="Helvetica Neue Light" charset="0"/>
                  <a:cs typeface="Helvetica Neue Light" charset="0"/>
                </a:rPr>
                <a:t>ODPi</a:t>
              </a:r>
              <a:r>
                <a:rPr lang="en-US" sz="1200" dirty="0" smtClean="0">
                  <a:solidFill>
                    <a:srgbClr val="FFFFFF"/>
                  </a:solidFill>
                  <a:latin typeface="Helvetica Neue Light" charset="0"/>
                  <a:ea typeface="Helvetica Neue Light" charset="0"/>
                  <a:cs typeface="Helvetica Neue Light" charset="0"/>
                </a:rPr>
                <a:t>)</a:t>
              </a:r>
              <a:endParaRPr lang="en-US" sz="1200" dirty="0">
                <a:solidFill>
                  <a:srgbClr val="FFFFFF"/>
                </a:solidFill>
                <a:latin typeface="Helvetica Neue Light" charset="0"/>
                <a:ea typeface="Helvetica Neue Light" charset="0"/>
                <a:cs typeface="Helvetica Neue Light" charset="0"/>
              </a:endParaRPr>
            </a:p>
          </p:txBody>
        </p:sp>
      </p:grpSp>
      <p:grpSp>
        <p:nvGrpSpPr>
          <p:cNvPr id="5" name="Group 8"/>
          <p:cNvGrpSpPr>
            <a:grpSpLocks/>
          </p:cNvGrpSpPr>
          <p:nvPr/>
        </p:nvGrpSpPr>
        <p:grpSpPr bwMode="auto">
          <a:xfrm>
            <a:off x="905807" y="3275823"/>
            <a:ext cx="1476375" cy="578644"/>
            <a:chOff x="2186587" y="2697913"/>
            <a:chExt cx="2459910" cy="1283450"/>
          </a:xfrm>
        </p:grpSpPr>
        <p:sp>
          <p:nvSpPr>
            <p:cNvPr id="23" name="Rounded Rectangle 22"/>
            <p:cNvSpPr>
              <a:spLocks noChangeArrowheads="1"/>
            </p:cNvSpPr>
            <p:nvPr/>
          </p:nvSpPr>
          <p:spPr bwMode="auto">
            <a:xfrm>
              <a:off x="2186587" y="2697913"/>
              <a:ext cx="2459910" cy="1283450"/>
            </a:xfrm>
            <a:prstGeom prst="roundRect">
              <a:avLst>
                <a:gd name="adj" fmla="val 16667"/>
              </a:avLst>
            </a:prstGeom>
            <a:solidFill>
              <a:srgbClr val="3D5F83"/>
            </a:solidFill>
            <a:ln w="38100">
              <a:solidFill>
                <a:srgbClr val="FFFFFF"/>
              </a:solidFill>
              <a:round/>
              <a:headEnd/>
              <a:tailEnd/>
            </a:ln>
            <a:effectLst>
              <a:outerShdw blurRad="40000" dist="20000" dir="5400000" rotWithShape="0">
                <a:srgbClr val="808080">
                  <a:alpha val="37999"/>
                </a:srgbClr>
              </a:outerShdw>
            </a:effectLst>
          </p:spPr>
          <p:txBody>
            <a:bodyPr/>
            <a:lstStyle/>
            <a:p>
              <a:pPr>
                <a:defRPr/>
              </a:pPr>
              <a:endParaRPr lang="en-US" sz="1600">
                <a:latin typeface="Arial" charset="0"/>
                <a:ea typeface="ＭＳ Ｐゴシック" charset="0"/>
                <a:cs typeface="ＭＳ Ｐゴシック" charset="0"/>
              </a:endParaRPr>
            </a:p>
          </p:txBody>
        </p:sp>
        <p:sp>
          <p:nvSpPr>
            <p:cNvPr id="24" name="Rounded Rectangle 8"/>
            <p:cNvSpPr/>
            <p:nvPr/>
          </p:nvSpPr>
          <p:spPr>
            <a:xfrm>
              <a:off x="2250069" y="2761293"/>
              <a:ext cx="2332947" cy="1156690"/>
            </a:xfrm>
            <a:prstGeom prst="rect">
              <a:avLst/>
            </a:prstGeom>
          </p:spPr>
          <p:style>
            <a:lnRef idx="0">
              <a:scrgbClr r="0" g="0" b="0"/>
            </a:lnRef>
            <a:fillRef idx="0">
              <a:scrgbClr r="0" g="0" b="0"/>
            </a:fillRef>
            <a:effectRef idx="0">
              <a:scrgbClr r="0" g="0" b="0"/>
            </a:effectRef>
            <a:fontRef idx="minor">
              <a:schemeClr val="lt1"/>
            </a:fontRef>
          </p:style>
          <p:txBody>
            <a:bodyPr lIns="68580" tIns="34290" rIns="68580" bIns="34290" spcCol="1270" anchor="ctr"/>
            <a:lstStyle/>
            <a:p>
              <a:pPr algn="ctr" defTabSz="800100">
                <a:lnSpc>
                  <a:spcPct val="90000"/>
                </a:lnSpc>
                <a:spcAft>
                  <a:spcPct val="35000"/>
                </a:spcAft>
                <a:defRPr/>
              </a:pPr>
              <a:r>
                <a:rPr lang="en-US" sz="1200" dirty="0" smtClean="0">
                  <a:solidFill>
                    <a:srgbClr val="FFFFFF"/>
                  </a:solidFill>
                  <a:latin typeface="Helvetica Light"/>
                  <a:cs typeface="Helvetica Light"/>
                </a:rPr>
                <a:t>BigInsights v4 </a:t>
              </a:r>
              <a:br>
                <a:rPr lang="en-US" sz="1200" dirty="0" smtClean="0">
                  <a:solidFill>
                    <a:srgbClr val="FFFFFF"/>
                  </a:solidFill>
                  <a:latin typeface="Helvetica Light"/>
                  <a:cs typeface="Helvetica Light"/>
                </a:rPr>
              </a:br>
              <a:r>
                <a:rPr lang="en-US" sz="1200" dirty="0" smtClean="0">
                  <a:solidFill>
                    <a:srgbClr val="FFFFFF"/>
                  </a:solidFill>
                  <a:latin typeface="Helvetica Light"/>
                  <a:cs typeface="Helvetica Light"/>
                </a:rPr>
                <a:t>Module </a:t>
              </a:r>
              <a:br>
                <a:rPr lang="en-US" sz="1200" dirty="0" smtClean="0">
                  <a:solidFill>
                    <a:srgbClr val="FFFFFF"/>
                  </a:solidFill>
                  <a:latin typeface="Helvetica Light"/>
                  <a:cs typeface="Helvetica Light"/>
                </a:rPr>
              </a:br>
              <a:r>
                <a:rPr lang="en-US" sz="1200" dirty="0" smtClean="0">
                  <a:solidFill>
                    <a:srgbClr val="FFFFFF"/>
                  </a:solidFill>
                  <a:latin typeface="Helvetica Light"/>
                  <a:cs typeface="Helvetica Light"/>
                </a:rPr>
                <a:t>Add-Ons</a:t>
              </a:r>
              <a:endParaRPr lang="en-US" sz="1200" dirty="0">
                <a:solidFill>
                  <a:srgbClr val="FFFFFF"/>
                </a:solidFill>
                <a:latin typeface="Helvetica Light"/>
                <a:cs typeface="Helvetica Light"/>
              </a:endParaRPr>
            </a:p>
          </p:txBody>
        </p:sp>
      </p:grpSp>
      <p:sp>
        <p:nvSpPr>
          <p:cNvPr id="27" name="Rounded Rectangle 13"/>
          <p:cNvSpPr>
            <a:spLocks noChangeArrowheads="1"/>
          </p:cNvSpPr>
          <p:nvPr/>
        </p:nvSpPr>
        <p:spPr bwMode="auto">
          <a:xfrm>
            <a:off x="2237720" y="3200813"/>
            <a:ext cx="1076325" cy="727472"/>
          </a:xfrm>
          <a:prstGeom prst="roundRect">
            <a:avLst>
              <a:gd name="adj" fmla="val 16667"/>
            </a:avLst>
          </a:prstGeom>
          <a:solidFill>
            <a:schemeClr val="bg1"/>
          </a:solidFill>
          <a:ln w="9525">
            <a:solidFill>
              <a:srgbClr val="0033CC"/>
            </a:solidFill>
            <a:round/>
            <a:headEnd/>
            <a:tailEnd/>
          </a:ln>
        </p:spPr>
        <p:txBody>
          <a:bodyPr anchor="ctr"/>
          <a:lstStyle>
            <a:lvl1pPr>
              <a:spcBef>
                <a:spcPct val="20000"/>
              </a:spcBef>
              <a:buClr>
                <a:schemeClr val="tx1"/>
              </a:buClr>
              <a:buFont typeface="Wingdings" pitchFamily="2" charset="2"/>
              <a:buChar char="§"/>
              <a:defRPr sz="1600">
                <a:solidFill>
                  <a:srgbClr val="000000"/>
                </a:solidFill>
                <a:latin typeface="Arial" pitchFamily="34" charset="0"/>
                <a:ea typeface="ＭＳ Ｐゴシック" pitchFamily="34" charset="-128"/>
              </a:defRPr>
            </a:lvl1pPr>
            <a:lvl2pPr marL="742950" indent="-285750">
              <a:spcBef>
                <a:spcPct val="20000"/>
              </a:spcBef>
              <a:buClr>
                <a:schemeClr val="tx1"/>
              </a:buClr>
              <a:buFont typeface="Symbol" pitchFamily="18" charset="2"/>
              <a:buChar char="-"/>
              <a:defRPr sz="1600">
                <a:solidFill>
                  <a:schemeClr val="tx1"/>
                </a:solidFill>
                <a:latin typeface="Arial" pitchFamily="34" charset="0"/>
                <a:ea typeface="ＭＳ Ｐゴシック" pitchFamily="34" charset="-128"/>
              </a:defRPr>
            </a:lvl2pPr>
            <a:lvl3pPr marL="1143000" indent="-228600">
              <a:spcBef>
                <a:spcPct val="20000"/>
              </a:spcBef>
              <a:buClr>
                <a:schemeClr val="tx1"/>
              </a:buClr>
              <a:buChar char="•"/>
              <a:defRPr sz="1600">
                <a:solidFill>
                  <a:schemeClr val="tx1"/>
                </a:solidFill>
                <a:latin typeface="Arial" pitchFamily="34" charset="0"/>
                <a:ea typeface="ＭＳ Ｐゴシック" pitchFamily="34" charset="-128"/>
              </a:defRPr>
            </a:lvl3pPr>
            <a:lvl4pPr marL="1600200" indent="-228600">
              <a:spcBef>
                <a:spcPct val="20000"/>
              </a:spcBef>
              <a:buClr>
                <a:schemeClr val="tx1"/>
              </a:buClr>
              <a:buChar char="•"/>
              <a:defRPr sz="1400">
                <a:solidFill>
                  <a:schemeClr val="tx1"/>
                </a:solidFill>
                <a:latin typeface="Arial" pitchFamily="34" charset="0"/>
                <a:ea typeface="ＭＳ Ｐゴシック" pitchFamily="34" charset="-128"/>
              </a:defRPr>
            </a:lvl4pPr>
            <a:lvl5pPr marL="2057400" indent="-228600">
              <a:spcBef>
                <a:spcPct val="20000"/>
              </a:spcBef>
              <a:buClr>
                <a:schemeClr val="tx1"/>
              </a:buClr>
              <a:defRPr sz="12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9pPr>
          </a:lstStyle>
          <a:p>
            <a:pPr algn="ctr">
              <a:spcBef>
                <a:spcPct val="0"/>
              </a:spcBef>
              <a:buClrTx/>
              <a:buFontTx/>
              <a:buNone/>
            </a:pPr>
            <a:endParaRPr lang="en-US" altLang="en-US"/>
          </a:p>
        </p:txBody>
      </p:sp>
      <p:sp>
        <p:nvSpPr>
          <p:cNvPr id="29" name="Rectangle 28"/>
          <p:cNvSpPr/>
          <p:nvPr/>
        </p:nvSpPr>
        <p:spPr>
          <a:xfrm>
            <a:off x="7583072" y="4733925"/>
            <a:ext cx="1560928" cy="4095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0" name="Footer Placeholder 2"/>
          <p:cNvSpPr txBox="1">
            <a:spLocks/>
          </p:cNvSpPr>
          <p:nvPr/>
        </p:nvSpPr>
        <p:spPr bwMode="auto">
          <a:xfrm>
            <a:off x="7262814" y="4861352"/>
            <a:ext cx="1722437"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defPPr>
              <a:defRPr lang="en-US"/>
            </a:defPPr>
            <a:lvl1pPr algn="r" rtl="0" eaLnBrk="0" fontAlgn="base" hangingPunct="0">
              <a:spcBef>
                <a:spcPct val="0"/>
              </a:spcBef>
              <a:spcAft>
                <a:spcPct val="0"/>
              </a:spcAft>
              <a:defRPr sz="800" kern="1200">
                <a:solidFill>
                  <a:schemeClr val="tx1"/>
                </a:solidFill>
                <a:latin typeface="Arial" charset="0"/>
                <a:ea typeface="MS PGothic" charset="0"/>
                <a:cs typeface="MS PGothic" charset="0"/>
              </a:defRPr>
            </a:lvl1pPr>
            <a:lvl2pPr marL="457200" algn="l" rtl="0" eaLnBrk="0" fontAlgn="base" hangingPunct="0">
              <a:spcBef>
                <a:spcPct val="0"/>
              </a:spcBef>
              <a:spcAft>
                <a:spcPct val="0"/>
              </a:spcAft>
              <a:defRPr sz="1600" kern="1200">
                <a:solidFill>
                  <a:schemeClr val="tx1"/>
                </a:solidFill>
                <a:latin typeface="Arial" charset="0"/>
                <a:ea typeface="MS PGothic" charset="0"/>
                <a:cs typeface="MS PGothic" charset="0"/>
              </a:defRPr>
            </a:lvl2pPr>
            <a:lvl3pPr marL="914400" algn="l" rtl="0" eaLnBrk="0" fontAlgn="base" hangingPunct="0">
              <a:spcBef>
                <a:spcPct val="0"/>
              </a:spcBef>
              <a:spcAft>
                <a:spcPct val="0"/>
              </a:spcAft>
              <a:defRPr sz="1600" kern="1200">
                <a:solidFill>
                  <a:schemeClr val="tx1"/>
                </a:solidFill>
                <a:latin typeface="Arial" charset="0"/>
                <a:ea typeface="MS PGothic" charset="0"/>
                <a:cs typeface="MS PGothic" charset="0"/>
              </a:defRPr>
            </a:lvl3pPr>
            <a:lvl4pPr marL="1371600" algn="l" rtl="0" eaLnBrk="0" fontAlgn="base" hangingPunct="0">
              <a:spcBef>
                <a:spcPct val="0"/>
              </a:spcBef>
              <a:spcAft>
                <a:spcPct val="0"/>
              </a:spcAft>
              <a:defRPr sz="1600" kern="1200">
                <a:solidFill>
                  <a:schemeClr val="tx1"/>
                </a:solidFill>
                <a:latin typeface="Arial" charset="0"/>
                <a:ea typeface="MS PGothic" charset="0"/>
                <a:cs typeface="MS PGothic" charset="0"/>
              </a:defRPr>
            </a:lvl4pPr>
            <a:lvl5pPr marL="1828800" algn="l" rtl="0" eaLnBrk="0" fontAlgn="base" hangingPunct="0">
              <a:spcBef>
                <a:spcPct val="0"/>
              </a:spcBef>
              <a:spcAft>
                <a:spcPct val="0"/>
              </a:spcAft>
              <a:defRPr sz="1600" kern="1200">
                <a:solidFill>
                  <a:schemeClr val="tx1"/>
                </a:solidFill>
                <a:latin typeface="Arial" charset="0"/>
                <a:ea typeface="MS PGothic" charset="0"/>
                <a:cs typeface="MS PGothic" charset="0"/>
              </a:defRPr>
            </a:lvl5pPr>
            <a:lvl6pPr marL="2286000" algn="l" defTabSz="457200" rtl="0" eaLnBrk="1" latinLnBrk="0" hangingPunct="1">
              <a:defRPr sz="1600" kern="1200">
                <a:solidFill>
                  <a:schemeClr val="tx1"/>
                </a:solidFill>
                <a:latin typeface="Arial" charset="0"/>
                <a:ea typeface="MS PGothic" charset="0"/>
                <a:cs typeface="MS PGothic" charset="0"/>
              </a:defRPr>
            </a:lvl6pPr>
            <a:lvl7pPr marL="2743200" algn="l" defTabSz="457200" rtl="0" eaLnBrk="1" latinLnBrk="0" hangingPunct="1">
              <a:defRPr sz="1600" kern="1200">
                <a:solidFill>
                  <a:schemeClr val="tx1"/>
                </a:solidFill>
                <a:latin typeface="Arial" charset="0"/>
                <a:ea typeface="MS PGothic" charset="0"/>
                <a:cs typeface="MS PGothic" charset="0"/>
              </a:defRPr>
            </a:lvl7pPr>
            <a:lvl8pPr marL="3200400" algn="l" defTabSz="457200" rtl="0" eaLnBrk="1" latinLnBrk="0" hangingPunct="1">
              <a:defRPr sz="1600" kern="1200">
                <a:solidFill>
                  <a:schemeClr val="tx1"/>
                </a:solidFill>
                <a:latin typeface="Arial" charset="0"/>
                <a:ea typeface="MS PGothic" charset="0"/>
                <a:cs typeface="MS PGothic" charset="0"/>
              </a:defRPr>
            </a:lvl8pPr>
            <a:lvl9pPr marL="3657600" algn="l" defTabSz="457200" rtl="0" eaLnBrk="1" latinLnBrk="0" hangingPunct="1">
              <a:defRPr sz="1600" kern="1200">
                <a:solidFill>
                  <a:schemeClr val="tx1"/>
                </a:solidFill>
                <a:latin typeface="Arial" charset="0"/>
                <a:ea typeface="MS PGothic" charset="0"/>
                <a:cs typeface="MS PGothic" charset="0"/>
              </a:defRPr>
            </a:lvl9pPr>
          </a:lstStyle>
          <a:p>
            <a:r>
              <a:rPr lang="en-US" sz="900" dirty="0" smtClean="0">
                <a:solidFill>
                  <a:srgbClr val="000000"/>
                </a:solidFill>
              </a:rPr>
              <a:t>© 2015 IBM Corporation</a:t>
            </a:r>
            <a:endParaRPr lang="en-US" sz="900" dirty="0">
              <a:solidFill>
                <a:srgbClr val="000000"/>
              </a:solidFill>
            </a:endParaRPr>
          </a:p>
        </p:txBody>
      </p:sp>
      <p:sp>
        <p:nvSpPr>
          <p:cNvPr id="16" name="Text Box 5"/>
          <p:cNvSpPr txBox="1">
            <a:spLocks noChangeArrowheads="1"/>
          </p:cNvSpPr>
          <p:nvPr/>
        </p:nvSpPr>
        <p:spPr bwMode="auto">
          <a:xfrm>
            <a:off x="0" y="903543"/>
            <a:ext cx="9144000" cy="523220"/>
          </a:xfrm>
          <a:prstGeom prst="rect">
            <a:avLst/>
          </a:prstGeom>
          <a:solidFill>
            <a:schemeClr val="tx1"/>
          </a:solidFill>
          <a:ln w="12700">
            <a:noFill/>
            <a:miter lim="800000"/>
            <a:headEnd/>
            <a:tailEnd/>
          </a:ln>
        </p:spPr>
        <p:txBody>
          <a:bodyPr wrap="square" lIns="182880" tIns="137160" rIns="182880" bIns="137160" anchor="ctr">
            <a:spAutoFit/>
          </a:bodyPr>
          <a:lstStyle>
            <a:lvl1pPr>
              <a:defRPr sz="2000" b="1">
                <a:solidFill>
                  <a:schemeClr val="tx1"/>
                </a:solidFill>
                <a:latin typeface="Arial" charset="0"/>
                <a:ea typeface="ＭＳ Ｐゴシック" charset="0"/>
                <a:cs typeface="Arial" charset="0"/>
              </a:defRPr>
            </a:lvl1pPr>
            <a:lvl2pPr marL="742950" indent="-285750">
              <a:defRPr>
                <a:solidFill>
                  <a:schemeClr val="tx1"/>
                </a:solidFill>
                <a:latin typeface="Arial" charset="0"/>
                <a:ea typeface="Arial" charset="0"/>
                <a:cs typeface="Arial" charset="0"/>
              </a:defRPr>
            </a:lvl2pPr>
            <a:lvl3pPr marL="1143000">
              <a:defRPr sz="1600">
                <a:solidFill>
                  <a:schemeClr val="tx1"/>
                </a:solidFill>
                <a:latin typeface="Arial" charset="0"/>
                <a:ea typeface="Arial" charset="0"/>
                <a:cs typeface="Arial" charset="0"/>
              </a:defRPr>
            </a:lvl3pPr>
            <a:lvl4pPr marL="1600200">
              <a:defRPr sz="1400">
                <a:solidFill>
                  <a:schemeClr val="tx1"/>
                </a:solidFill>
                <a:latin typeface="Arial" charset="0"/>
                <a:ea typeface="Arial" charset="0"/>
                <a:cs typeface="Arial" charset="0"/>
              </a:defRPr>
            </a:lvl4pPr>
            <a:lvl5pPr marL="2057400">
              <a:defRPr sz="1400">
                <a:solidFill>
                  <a:schemeClr val="tx1"/>
                </a:solidFill>
                <a:latin typeface="Arial" charset="0"/>
                <a:ea typeface="Arial" charset="0"/>
                <a:cs typeface="Arial" charset="0"/>
              </a:defRPr>
            </a:lvl5pPr>
            <a:lvl6pPr marL="25146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6pPr>
            <a:lvl7pPr marL="29718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7pPr>
            <a:lvl8pPr marL="34290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8pPr>
            <a:lvl9pPr marL="3886200" indent="-228600" eaLnBrk="0" hangingPunct="0">
              <a:spcBef>
                <a:spcPct val="0"/>
              </a:spcBef>
              <a:buClr>
                <a:schemeClr val="tx1"/>
              </a:buClr>
              <a:buFont typeface="Arial" charset="0"/>
              <a:buChar char="&gt;"/>
              <a:defRPr sz="1400">
                <a:solidFill>
                  <a:schemeClr val="tx1"/>
                </a:solidFill>
                <a:latin typeface="Arial" charset="0"/>
                <a:ea typeface="Arial" charset="0"/>
                <a:cs typeface="Arial" charset="0"/>
              </a:defRPr>
            </a:lvl9pPr>
          </a:lstStyle>
          <a:p>
            <a:pPr algn="ctr"/>
            <a:r>
              <a:rPr lang="en-US" sz="1600" b="0" dirty="0" smtClean="0">
                <a:solidFill>
                  <a:srgbClr val="FFFFFF"/>
                </a:solidFill>
                <a:latin typeface="Helvetica Light"/>
                <a:cs typeface="Helvetica Light"/>
              </a:rPr>
              <a:t>Enterprise Hadoop as a Service (</a:t>
            </a:r>
            <a:r>
              <a:rPr lang="en-US" sz="1600" b="0" dirty="0" smtClean="0">
                <a:solidFill>
                  <a:srgbClr val="B9CFED"/>
                </a:solidFill>
                <a:latin typeface="Helvetica Light"/>
                <a:cs typeface="Helvetica Light"/>
              </a:rPr>
              <a:t>EHaaS</a:t>
            </a:r>
            <a:r>
              <a:rPr lang="en-US" sz="1600" b="0" dirty="0" smtClean="0">
                <a:solidFill>
                  <a:srgbClr val="FFFFFF"/>
                </a:solidFill>
                <a:latin typeface="Helvetica Light"/>
                <a:cs typeface="Helvetica Light"/>
              </a:rPr>
              <a:t>)</a:t>
            </a:r>
            <a:endParaRPr lang="en-US" sz="1600" b="0" dirty="0">
              <a:solidFill>
                <a:srgbClr val="FFFFFF"/>
              </a:solidFill>
              <a:latin typeface="Helvetica Light"/>
              <a:cs typeface="Helvetica Light"/>
            </a:endParaRPr>
          </a:p>
        </p:txBody>
      </p:sp>
      <p:sp>
        <p:nvSpPr>
          <p:cNvPr id="34" name="Rounded Rectangle 33"/>
          <p:cNvSpPr>
            <a:spLocks noChangeArrowheads="1"/>
          </p:cNvSpPr>
          <p:nvPr/>
        </p:nvSpPr>
        <p:spPr bwMode="auto">
          <a:xfrm>
            <a:off x="905807" y="4027284"/>
            <a:ext cx="1476375" cy="578644"/>
          </a:xfrm>
          <a:prstGeom prst="roundRect">
            <a:avLst>
              <a:gd name="adj" fmla="val 16667"/>
            </a:avLst>
          </a:prstGeom>
          <a:solidFill>
            <a:srgbClr val="BF0A13"/>
          </a:solidFill>
          <a:ln w="38100">
            <a:solidFill>
              <a:srgbClr val="FFFFFF"/>
            </a:solidFill>
            <a:round/>
            <a:headEnd/>
            <a:tailEnd/>
          </a:ln>
          <a:effectLst>
            <a:outerShdw blurRad="40000" dist="20000" dir="5400000" rotWithShape="0">
              <a:srgbClr val="808080">
                <a:alpha val="37999"/>
              </a:srgbClr>
            </a:outerShdw>
          </a:effectLst>
        </p:spPr>
        <p:txBody>
          <a:bodyPr/>
          <a:lstStyle/>
          <a:p>
            <a:pPr>
              <a:defRPr/>
            </a:pPr>
            <a:endParaRPr lang="en-US" sz="1600">
              <a:latin typeface="Arial" charset="0"/>
              <a:ea typeface="ＭＳ Ｐゴシック" charset="0"/>
              <a:cs typeface="ＭＳ Ｐゴシック" charset="0"/>
            </a:endParaRPr>
          </a:p>
        </p:txBody>
      </p:sp>
      <p:sp>
        <p:nvSpPr>
          <p:cNvPr id="35" name="Rounded Rectangle 8"/>
          <p:cNvSpPr/>
          <p:nvPr/>
        </p:nvSpPr>
        <p:spPr bwMode="auto">
          <a:xfrm>
            <a:off x="943907" y="4055859"/>
            <a:ext cx="1400175" cy="521494"/>
          </a:xfrm>
          <a:prstGeom prst="rect">
            <a:avLst/>
          </a:prstGeom>
          <a:noFill/>
        </p:spPr>
        <p:style>
          <a:lnRef idx="0">
            <a:scrgbClr r="0" g="0" b="0"/>
          </a:lnRef>
          <a:fillRef idx="0">
            <a:scrgbClr r="0" g="0" b="0"/>
          </a:fillRef>
          <a:effectRef idx="0">
            <a:scrgbClr r="0" g="0" b="0"/>
          </a:effectRef>
          <a:fontRef idx="minor">
            <a:schemeClr val="lt1"/>
          </a:fontRef>
        </p:style>
        <p:txBody>
          <a:bodyPr lIns="68580" tIns="34290" rIns="68580" bIns="34290" spcCol="1270" anchor="ctr"/>
          <a:lstStyle/>
          <a:p>
            <a:pPr algn="ctr" defTabSz="800100">
              <a:lnSpc>
                <a:spcPct val="90000"/>
              </a:lnSpc>
              <a:spcAft>
                <a:spcPct val="35000"/>
              </a:spcAft>
              <a:defRPr/>
            </a:pPr>
            <a:r>
              <a:rPr lang="en-US" sz="1200" dirty="0" smtClean="0">
                <a:solidFill>
                  <a:srgbClr val="FFFFFF"/>
                </a:solidFill>
                <a:latin typeface="Helvetica Light"/>
                <a:cs typeface="Helvetica Light"/>
              </a:rPr>
              <a:t>SoftLayer</a:t>
            </a:r>
            <a:br>
              <a:rPr lang="en-US" sz="1200" dirty="0" smtClean="0">
                <a:solidFill>
                  <a:srgbClr val="FFFFFF"/>
                </a:solidFill>
                <a:latin typeface="Helvetica Light"/>
                <a:cs typeface="Helvetica Light"/>
              </a:rPr>
            </a:br>
            <a:r>
              <a:rPr lang="en-US" sz="1200" dirty="0" smtClean="0">
                <a:solidFill>
                  <a:srgbClr val="FFFFFF"/>
                </a:solidFill>
                <a:latin typeface="Helvetica Light"/>
                <a:cs typeface="Helvetica Light"/>
              </a:rPr>
              <a:t>Bare Metal</a:t>
            </a:r>
            <a:endParaRPr lang="en-US" sz="1050" dirty="0">
              <a:solidFill>
                <a:srgbClr val="FEC82E"/>
              </a:solidFill>
              <a:latin typeface="Helvetica Light"/>
              <a:cs typeface="Helvetica Light"/>
            </a:endParaRPr>
          </a:p>
        </p:txBody>
      </p:sp>
      <p:sp>
        <p:nvSpPr>
          <p:cNvPr id="36" name="Rounded Rectangle 13"/>
          <p:cNvSpPr>
            <a:spLocks noChangeArrowheads="1"/>
          </p:cNvSpPr>
          <p:nvPr/>
        </p:nvSpPr>
        <p:spPr bwMode="auto">
          <a:xfrm>
            <a:off x="2237720" y="3952274"/>
            <a:ext cx="1076325" cy="727472"/>
          </a:xfrm>
          <a:prstGeom prst="roundRect">
            <a:avLst>
              <a:gd name="adj" fmla="val 16667"/>
            </a:avLst>
          </a:prstGeom>
          <a:solidFill>
            <a:schemeClr val="bg1"/>
          </a:solidFill>
          <a:ln w="9525">
            <a:solidFill>
              <a:srgbClr val="0033CC"/>
            </a:solidFill>
            <a:round/>
            <a:headEnd/>
            <a:tailEnd/>
          </a:ln>
        </p:spPr>
        <p:txBody>
          <a:bodyPr anchor="ctr"/>
          <a:lstStyle>
            <a:lvl1pPr>
              <a:spcBef>
                <a:spcPct val="20000"/>
              </a:spcBef>
              <a:buClr>
                <a:schemeClr val="tx1"/>
              </a:buClr>
              <a:buFont typeface="Wingdings" pitchFamily="2" charset="2"/>
              <a:buChar char="§"/>
              <a:defRPr sz="1600">
                <a:solidFill>
                  <a:srgbClr val="000000"/>
                </a:solidFill>
                <a:latin typeface="Arial" pitchFamily="34" charset="0"/>
                <a:ea typeface="ＭＳ Ｐゴシック" pitchFamily="34" charset="-128"/>
              </a:defRPr>
            </a:lvl1pPr>
            <a:lvl2pPr marL="742950" indent="-285750">
              <a:spcBef>
                <a:spcPct val="20000"/>
              </a:spcBef>
              <a:buClr>
                <a:schemeClr val="tx1"/>
              </a:buClr>
              <a:buFont typeface="Symbol" pitchFamily="18" charset="2"/>
              <a:buChar char="-"/>
              <a:defRPr sz="1600">
                <a:solidFill>
                  <a:schemeClr val="tx1"/>
                </a:solidFill>
                <a:latin typeface="Arial" pitchFamily="34" charset="0"/>
                <a:ea typeface="ＭＳ Ｐゴシック" pitchFamily="34" charset="-128"/>
              </a:defRPr>
            </a:lvl2pPr>
            <a:lvl3pPr marL="1143000" indent="-228600">
              <a:spcBef>
                <a:spcPct val="20000"/>
              </a:spcBef>
              <a:buClr>
                <a:schemeClr val="tx1"/>
              </a:buClr>
              <a:buChar char="•"/>
              <a:defRPr sz="1600">
                <a:solidFill>
                  <a:schemeClr val="tx1"/>
                </a:solidFill>
                <a:latin typeface="Arial" pitchFamily="34" charset="0"/>
                <a:ea typeface="ＭＳ Ｐゴシック" pitchFamily="34" charset="-128"/>
              </a:defRPr>
            </a:lvl3pPr>
            <a:lvl4pPr marL="1600200" indent="-228600">
              <a:spcBef>
                <a:spcPct val="20000"/>
              </a:spcBef>
              <a:buClr>
                <a:schemeClr val="tx1"/>
              </a:buClr>
              <a:buChar char="•"/>
              <a:defRPr sz="1400">
                <a:solidFill>
                  <a:schemeClr val="tx1"/>
                </a:solidFill>
                <a:latin typeface="Arial" pitchFamily="34" charset="0"/>
                <a:ea typeface="ＭＳ Ｐゴシック" pitchFamily="34" charset="-128"/>
              </a:defRPr>
            </a:lvl4pPr>
            <a:lvl5pPr marL="2057400" indent="-228600">
              <a:spcBef>
                <a:spcPct val="20000"/>
              </a:spcBef>
              <a:buClr>
                <a:schemeClr val="tx1"/>
              </a:buClr>
              <a:defRPr sz="12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9pPr>
          </a:lstStyle>
          <a:p>
            <a:pPr algn="ctr">
              <a:spcBef>
                <a:spcPct val="0"/>
              </a:spcBef>
              <a:buClrTx/>
              <a:buFontTx/>
              <a:buNone/>
            </a:pPr>
            <a:endParaRPr lang="en-US" altLang="en-US"/>
          </a:p>
        </p:txBody>
      </p:sp>
      <p:sp>
        <p:nvSpPr>
          <p:cNvPr id="12" name="Rectangle 92"/>
          <p:cNvSpPr>
            <a:spLocks noChangeArrowheads="1"/>
          </p:cNvSpPr>
          <p:nvPr/>
        </p:nvSpPr>
        <p:spPr bwMode="auto">
          <a:xfrm>
            <a:off x="4576194" y="2127759"/>
            <a:ext cx="4464444" cy="2694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342900" indent="-342900">
              <a:lnSpc>
                <a:spcPct val="130000"/>
              </a:lnSpc>
              <a:spcAft>
                <a:spcPts val="188"/>
              </a:spcAft>
              <a:buFont typeface="Wingdings" charset="2"/>
              <a:buChar char="§"/>
            </a:pPr>
            <a:r>
              <a:rPr lang="en-US" sz="1400" dirty="0" smtClean="0">
                <a:latin typeface="Helvetica Neue Light" charset="0"/>
                <a:ea typeface="Helvetica Neue Light" charset="0"/>
                <a:cs typeface="Helvetica Neue Light" charset="0"/>
              </a:rPr>
              <a:t>Simple IBM Cloud provisioning &amp; scaling</a:t>
            </a:r>
          </a:p>
          <a:p>
            <a:pPr marL="342900" indent="-342900">
              <a:lnSpc>
                <a:spcPct val="130000"/>
              </a:lnSpc>
              <a:spcAft>
                <a:spcPts val="188"/>
              </a:spcAft>
              <a:buFont typeface="Wingdings" charset="2"/>
              <a:buChar char="§"/>
            </a:pPr>
            <a:r>
              <a:rPr lang="en-US" sz="1400" dirty="0" smtClean="0">
                <a:latin typeface="Helvetica Neue Light" charset="0"/>
                <a:ea typeface="Helvetica Neue Light" charset="0"/>
                <a:cs typeface="Helvetica Neue Light" charset="0"/>
              </a:rPr>
              <a:t>Performant bare metal deployments</a:t>
            </a:r>
          </a:p>
          <a:p>
            <a:pPr marL="342900" indent="-342900">
              <a:lnSpc>
                <a:spcPct val="130000"/>
              </a:lnSpc>
              <a:spcAft>
                <a:spcPts val="188"/>
              </a:spcAft>
              <a:buFont typeface="Wingdings" charset="2"/>
              <a:buChar char="§"/>
            </a:pPr>
            <a:r>
              <a:rPr lang="en-US" sz="1400" dirty="0" smtClean="0">
                <a:latin typeface="Helvetica Neue Light" charset="0"/>
                <a:ea typeface="Helvetica Neue Light" charset="0"/>
                <a:cs typeface="Helvetica Neue Light" charset="0"/>
              </a:rPr>
              <a:t>Managed solution</a:t>
            </a:r>
          </a:p>
          <a:p>
            <a:pPr marL="800100" lvl="1" indent="-342900">
              <a:lnSpc>
                <a:spcPct val="130000"/>
              </a:lnSpc>
              <a:spcAft>
                <a:spcPts val="188"/>
              </a:spcAft>
              <a:buFont typeface="Wingdings" charset="2"/>
              <a:buChar char="§"/>
            </a:pPr>
            <a:r>
              <a:rPr lang="en-US" sz="1100" dirty="0" smtClean="0">
                <a:latin typeface="Helvetica Neue Light" charset="0"/>
                <a:ea typeface="Helvetica Neue Light" charset="0"/>
                <a:cs typeface="Helvetica Neue Light" charset="0"/>
              </a:rPr>
              <a:t>Monitoring for availability &amp; security of </a:t>
            </a:r>
            <a:br>
              <a:rPr lang="en-US" sz="1100" dirty="0" smtClean="0">
                <a:latin typeface="Helvetica Neue Light" charset="0"/>
                <a:ea typeface="Helvetica Neue Light" charset="0"/>
                <a:cs typeface="Helvetica Neue Light" charset="0"/>
              </a:rPr>
            </a:br>
            <a:r>
              <a:rPr lang="en-US" sz="1100" dirty="0" smtClean="0">
                <a:latin typeface="Helvetica Neue Light" charset="0"/>
                <a:ea typeface="Helvetica Neue Light" charset="0"/>
                <a:cs typeface="Helvetica Neue Light" charset="0"/>
              </a:rPr>
              <a:t>critical platform components</a:t>
            </a:r>
          </a:p>
          <a:p>
            <a:pPr marL="800100" lvl="1" indent="-342900">
              <a:lnSpc>
                <a:spcPct val="130000"/>
              </a:lnSpc>
              <a:spcAft>
                <a:spcPts val="188"/>
              </a:spcAft>
              <a:buFont typeface="Wingdings" charset="2"/>
              <a:buChar char="§"/>
            </a:pPr>
            <a:r>
              <a:rPr lang="en-US" sz="1100" dirty="0" smtClean="0">
                <a:latin typeface="Helvetica Neue Light" charset="0"/>
                <a:ea typeface="Helvetica Neue Light" charset="0"/>
                <a:cs typeface="Helvetica Neue Light" charset="0"/>
              </a:rPr>
              <a:t>Patching of OS, Hadoop, and BigInsights</a:t>
            </a:r>
          </a:p>
          <a:p>
            <a:pPr marL="342900" indent="-342900">
              <a:lnSpc>
                <a:spcPct val="130000"/>
              </a:lnSpc>
              <a:spcAft>
                <a:spcPts val="188"/>
              </a:spcAft>
              <a:buFont typeface="Wingdings" charset="2"/>
              <a:buChar char="§"/>
            </a:pPr>
            <a:r>
              <a:rPr lang="en-US" sz="1400" b="1" dirty="0" smtClean="0">
                <a:solidFill>
                  <a:srgbClr val="0A5889"/>
                </a:solidFill>
                <a:latin typeface="Helvetica Neue Light" charset="0"/>
                <a:ea typeface="Helvetica Neue Light" charset="0"/>
                <a:cs typeface="Helvetica Neue Light" charset="0"/>
              </a:rPr>
              <a:t>IBM Open Platform </a:t>
            </a:r>
            <a:r>
              <a:rPr lang="en-US" sz="1400" dirty="0" smtClean="0">
                <a:latin typeface="Helvetica Neue Light" charset="0"/>
                <a:ea typeface="Helvetica Neue Light" charset="0"/>
                <a:cs typeface="Helvetica Neue Light" charset="0"/>
              </a:rPr>
              <a:t>(IOP) packages + </a:t>
            </a:r>
            <a:r>
              <a:rPr lang="en-US" sz="1400" b="1" dirty="0" err="1" smtClean="0">
                <a:solidFill>
                  <a:srgbClr val="0A5889"/>
                </a:solidFill>
                <a:latin typeface="Helvetica Neue Light" charset="0"/>
                <a:ea typeface="Helvetica Neue Light" charset="0"/>
                <a:cs typeface="Helvetica Neue Light" charset="0"/>
              </a:rPr>
              <a:t>BigInsights</a:t>
            </a:r>
            <a:r>
              <a:rPr lang="en-US" sz="1400" b="1" dirty="0" smtClean="0">
                <a:solidFill>
                  <a:srgbClr val="0A5889"/>
                </a:solidFill>
                <a:latin typeface="Helvetica Neue Light" charset="0"/>
                <a:ea typeface="Helvetica Neue Light" charset="0"/>
                <a:cs typeface="Helvetica Neue Light" charset="0"/>
              </a:rPr>
              <a:t> v4.1 module add-ons</a:t>
            </a:r>
          </a:p>
          <a:p>
            <a:pPr marL="800100" lvl="1" indent="-342900">
              <a:lnSpc>
                <a:spcPct val="130000"/>
              </a:lnSpc>
              <a:spcAft>
                <a:spcPts val="188"/>
              </a:spcAft>
              <a:buFont typeface="Wingdings" charset="2"/>
              <a:buChar char="§"/>
            </a:pPr>
            <a:r>
              <a:rPr lang="en-US" sz="1100" dirty="0" smtClean="0">
                <a:latin typeface="Helvetica Neue Light" charset="0"/>
                <a:ea typeface="Helvetica Neue Light" charset="0"/>
                <a:cs typeface="Helvetica Neue Light" charset="0"/>
              </a:rPr>
              <a:t>Latest open source packages (Hadoop 2.6, YARN, Spark, Ambari) available for no charge</a:t>
            </a:r>
          </a:p>
        </p:txBody>
      </p:sp>
      <p:sp>
        <p:nvSpPr>
          <p:cNvPr id="58" name="Rounded Rectangle 13"/>
          <p:cNvSpPr>
            <a:spLocks noChangeArrowheads="1"/>
          </p:cNvSpPr>
          <p:nvPr/>
        </p:nvSpPr>
        <p:spPr bwMode="auto">
          <a:xfrm>
            <a:off x="2237720" y="2438569"/>
            <a:ext cx="1076325" cy="727472"/>
          </a:xfrm>
          <a:prstGeom prst="roundRect">
            <a:avLst>
              <a:gd name="adj" fmla="val 16667"/>
            </a:avLst>
          </a:prstGeom>
          <a:solidFill>
            <a:schemeClr val="bg1"/>
          </a:solidFill>
          <a:ln w="9525">
            <a:solidFill>
              <a:srgbClr val="0033CC"/>
            </a:solidFill>
            <a:round/>
            <a:headEnd/>
            <a:tailEnd/>
          </a:ln>
        </p:spPr>
        <p:txBody>
          <a:bodyPr anchor="ctr"/>
          <a:lstStyle>
            <a:lvl1pPr>
              <a:spcBef>
                <a:spcPct val="20000"/>
              </a:spcBef>
              <a:buClr>
                <a:schemeClr val="tx1"/>
              </a:buClr>
              <a:buFont typeface="Wingdings" pitchFamily="2" charset="2"/>
              <a:buChar char="§"/>
              <a:defRPr sz="1600">
                <a:solidFill>
                  <a:srgbClr val="000000"/>
                </a:solidFill>
                <a:latin typeface="Arial" pitchFamily="34" charset="0"/>
                <a:ea typeface="ＭＳ Ｐゴシック" pitchFamily="34" charset="-128"/>
              </a:defRPr>
            </a:lvl1pPr>
            <a:lvl2pPr marL="742950" indent="-285750">
              <a:spcBef>
                <a:spcPct val="20000"/>
              </a:spcBef>
              <a:buClr>
                <a:schemeClr val="tx1"/>
              </a:buClr>
              <a:buFont typeface="Symbol" pitchFamily="18" charset="2"/>
              <a:buChar char="-"/>
              <a:defRPr sz="1600">
                <a:solidFill>
                  <a:schemeClr val="tx1"/>
                </a:solidFill>
                <a:latin typeface="Arial" pitchFamily="34" charset="0"/>
                <a:ea typeface="ＭＳ Ｐゴシック" pitchFamily="34" charset="-128"/>
              </a:defRPr>
            </a:lvl2pPr>
            <a:lvl3pPr marL="1143000" indent="-228600">
              <a:spcBef>
                <a:spcPct val="20000"/>
              </a:spcBef>
              <a:buClr>
                <a:schemeClr val="tx1"/>
              </a:buClr>
              <a:buChar char="•"/>
              <a:defRPr sz="1600">
                <a:solidFill>
                  <a:schemeClr val="tx1"/>
                </a:solidFill>
                <a:latin typeface="Arial" pitchFamily="34" charset="0"/>
                <a:ea typeface="ＭＳ Ｐゴシック" pitchFamily="34" charset="-128"/>
              </a:defRPr>
            </a:lvl3pPr>
            <a:lvl4pPr marL="1600200" indent="-228600">
              <a:spcBef>
                <a:spcPct val="20000"/>
              </a:spcBef>
              <a:buClr>
                <a:schemeClr val="tx1"/>
              </a:buClr>
              <a:buChar char="•"/>
              <a:defRPr sz="1400">
                <a:solidFill>
                  <a:schemeClr val="tx1"/>
                </a:solidFill>
                <a:latin typeface="Arial" pitchFamily="34" charset="0"/>
                <a:ea typeface="ＭＳ Ｐゴシック" pitchFamily="34" charset="-128"/>
              </a:defRPr>
            </a:lvl4pPr>
            <a:lvl5pPr marL="2057400" indent="-228600">
              <a:spcBef>
                <a:spcPct val="20000"/>
              </a:spcBef>
              <a:buClr>
                <a:schemeClr val="tx1"/>
              </a:buClr>
              <a:defRPr sz="12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9pPr>
          </a:lstStyle>
          <a:p>
            <a:pPr algn="ctr">
              <a:spcBef>
                <a:spcPct val="0"/>
              </a:spcBef>
              <a:buClrTx/>
              <a:buFontTx/>
              <a:buNone/>
            </a:pPr>
            <a:endParaRPr lang="en-US" altLang="en-US"/>
          </a:p>
        </p:txBody>
      </p:sp>
      <p:pic>
        <p:nvPicPr>
          <p:cNvPr id="59" name="Picture 4"/>
          <p:cNvPicPr>
            <a:picLocks noChangeAspect="1" noChangeArrowheads="1"/>
          </p:cNvPicPr>
          <p:nvPr/>
        </p:nvPicPr>
        <p:blipFill>
          <a:blip r:embed="rId5"/>
          <a:srcRect/>
          <a:stretch>
            <a:fillRect/>
          </a:stretch>
        </p:blipFill>
        <p:spPr bwMode="auto">
          <a:xfrm>
            <a:off x="2393387" y="2506572"/>
            <a:ext cx="801806" cy="609614"/>
          </a:xfrm>
          <a:prstGeom prst="rect">
            <a:avLst/>
          </a:prstGeom>
          <a:noFill/>
          <a:ln w="9525">
            <a:noFill/>
            <a:miter lim="800000"/>
            <a:headEnd/>
            <a:tailEnd/>
          </a:ln>
        </p:spPr>
      </p:pic>
      <p:pic>
        <p:nvPicPr>
          <p:cNvPr id="60" name="BigInsights-13.png" descr="BigInsights-13"/>
          <p:cNvPicPr/>
          <p:nvPr/>
        </p:nvPicPr>
        <p:blipFill>
          <a:blip r:embed="rId6" cstate="print">
            <a:extLst/>
          </a:blip>
          <a:stretch>
            <a:fillRect/>
          </a:stretch>
        </p:blipFill>
        <p:spPr>
          <a:xfrm>
            <a:off x="2392456" y="3254954"/>
            <a:ext cx="772162" cy="625748"/>
          </a:xfrm>
          <a:prstGeom prst="rect">
            <a:avLst/>
          </a:prstGeom>
          <a:ln w="12700">
            <a:miter lim="400000"/>
          </a:ln>
        </p:spPr>
      </p:pic>
      <p:sp>
        <p:nvSpPr>
          <p:cNvPr id="61" name="Rounded Rectangle 13"/>
          <p:cNvSpPr>
            <a:spLocks noChangeArrowheads="1"/>
          </p:cNvSpPr>
          <p:nvPr/>
        </p:nvSpPr>
        <p:spPr bwMode="auto">
          <a:xfrm>
            <a:off x="2237720" y="1680672"/>
            <a:ext cx="1076325" cy="727472"/>
          </a:xfrm>
          <a:prstGeom prst="roundRect">
            <a:avLst>
              <a:gd name="adj" fmla="val 16667"/>
            </a:avLst>
          </a:prstGeom>
          <a:solidFill>
            <a:schemeClr val="bg1"/>
          </a:solidFill>
          <a:ln w="9525">
            <a:solidFill>
              <a:srgbClr val="0033CC"/>
            </a:solidFill>
            <a:round/>
            <a:headEnd/>
            <a:tailEnd/>
          </a:ln>
        </p:spPr>
        <p:txBody>
          <a:bodyPr anchor="ctr"/>
          <a:lstStyle>
            <a:lvl1pPr>
              <a:spcBef>
                <a:spcPct val="20000"/>
              </a:spcBef>
              <a:buClr>
                <a:schemeClr val="tx1"/>
              </a:buClr>
              <a:buFont typeface="Wingdings" pitchFamily="2" charset="2"/>
              <a:buChar char="§"/>
              <a:defRPr sz="1600">
                <a:solidFill>
                  <a:srgbClr val="000000"/>
                </a:solidFill>
                <a:latin typeface="Arial" pitchFamily="34" charset="0"/>
                <a:ea typeface="ＭＳ Ｐゴシック" pitchFamily="34" charset="-128"/>
              </a:defRPr>
            </a:lvl1pPr>
            <a:lvl2pPr marL="742950" indent="-285750">
              <a:spcBef>
                <a:spcPct val="20000"/>
              </a:spcBef>
              <a:buClr>
                <a:schemeClr val="tx1"/>
              </a:buClr>
              <a:buFont typeface="Symbol" pitchFamily="18" charset="2"/>
              <a:buChar char="-"/>
              <a:defRPr sz="1600">
                <a:solidFill>
                  <a:schemeClr val="tx1"/>
                </a:solidFill>
                <a:latin typeface="Arial" pitchFamily="34" charset="0"/>
                <a:ea typeface="ＭＳ Ｐゴシック" pitchFamily="34" charset="-128"/>
              </a:defRPr>
            </a:lvl2pPr>
            <a:lvl3pPr marL="1143000" indent="-228600">
              <a:spcBef>
                <a:spcPct val="20000"/>
              </a:spcBef>
              <a:buClr>
                <a:schemeClr val="tx1"/>
              </a:buClr>
              <a:buChar char="•"/>
              <a:defRPr sz="1600">
                <a:solidFill>
                  <a:schemeClr val="tx1"/>
                </a:solidFill>
                <a:latin typeface="Arial" pitchFamily="34" charset="0"/>
                <a:ea typeface="ＭＳ Ｐゴシック" pitchFamily="34" charset="-128"/>
              </a:defRPr>
            </a:lvl3pPr>
            <a:lvl4pPr marL="1600200" indent="-228600">
              <a:spcBef>
                <a:spcPct val="20000"/>
              </a:spcBef>
              <a:buClr>
                <a:schemeClr val="tx1"/>
              </a:buClr>
              <a:buChar char="•"/>
              <a:defRPr sz="1400">
                <a:solidFill>
                  <a:schemeClr val="tx1"/>
                </a:solidFill>
                <a:latin typeface="Arial" pitchFamily="34" charset="0"/>
                <a:ea typeface="ＭＳ Ｐゴシック" pitchFamily="34" charset="-128"/>
              </a:defRPr>
            </a:lvl4pPr>
            <a:lvl5pPr marL="2057400" indent="-228600">
              <a:spcBef>
                <a:spcPct val="20000"/>
              </a:spcBef>
              <a:buClr>
                <a:schemeClr val="tx1"/>
              </a:buClr>
              <a:defRPr sz="1200">
                <a:solidFill>
                  <a:schemeClr val="tx1"/>
                </a:solidFill>
                <a:latin typeface="Arial" pitchFamily="34" charset="0"/>
                <a:ea typeface="ＭＳ Ｐゴシック" pitchFamily="34" charset="-128"/>
              </a:defRPr>
            </a:lvl5pPr>
            <a:lvl6pPr marL="25146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6pPr>
            <a:lvl7pPr marL="29718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7pPr>
            <a:lvl8pPr marL="34290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8pPr>
            <a:lvl9pPr marL="3886200" indent="-228600" eaLnBrk="0" fontAlgn="base" hangingPunct="0">
              <a:spcBef>
                <a:spcPct val="20000"/>
              </a:spcBef>
              <a:spcAft>
                <a:spcPct val="0"/>
              </a:spcAft>
              <a:buClr>
                <a:schemeClr val="tx1"/>
              </a:buClr>
              <a:defRPr sz="1200">
                <a:solidFill>
                  <a:schemeClr val="tx1"/>
                </a:solidFill>
                <a:latin typeface="Arial" pitchFamily="34" charset="0"/>
                <a:ea typeface="ＭＳ Ｐゴシック" pitchFamily="34" charset="-128"/>
              </a:defRPr>
            </a:lvl9pPr>
          </a:lstStyle>
          <a:p>
            <a:pPr algn="ctr">
              <a:spcBef>
                <a:spcPct val="0"/>
              </a:spcBef>
              <a:buClrTx/>
              <a:buFontTx/>
              <a:buNone/>
            </a:pPr>
            <a:endParaRPr lang="en-US" altLang="en-US"/>
          </a:p>
        </p:txBody>
      </p:sp>
      <p:sp>
        <p:nvSpPr>
          <p:cNvPr id="64" name="TextBox 45"/>
          <p:cNvSpPr txBox="1">
            <a:spLocks noChangeArrowheads="1"/>
          </p:cNvSpPr>
          <p:nvPr/>
        </p:nvSpPr>
        <p:spPr bwMode="auto">
          <a:xfrm>
            <a:off x="5836258" y="1688815"/>
            <a:ext cx="231506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a:r>
              <a:rPr lang="en-US" altLang="en-US" b="1" dirty="0" smtClean="0">
                <a:solidFill>
                  <a:srgbClr val="000000"/>
                </a:solidFill>
              </a:rPr>
              <a:t>on Cloud</a:t>
            </a:r>
            <a:endParaRPr lang="en-US" altLang="en-US" b="1" dirty="0">
              <a:solidFill>
                <a:srgbClr val="000000"/>
              </a:solidFill>
            </a:endParaRPr>
          </a:p>
        </p:txBody>
      </p:sp>
      <p:pic>
        <p:nvPicPr>
          <p:cNvPr id="65" name="Picture 1"/>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76598" y="1470991"/>
            <a:ext cx="2174875" cy="30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Picture 2" descr="http://spark.apache.org/images/spark-logo.png"/>
          <p:cNvPicPr>
            <a:picLocks noChangeAspect="1" noChangeArrowheads="1"/>
          </p:cNvPicPr>
          <p:nvPr/>
        </p:nvPicPr>
        <p:blipFill>
          <a:blip r:embed="rId8" cstate="print"/>
          <a:srcRect/>
          <a:stretch>
            <a:fillRect/>
          </a:stretch>
        </p:blipFill>
        <p:spPr bwMode="auto">
          <a:xfrm>
            <a:off x="2285891" y="1850212"/>
            <a:ext cx="967196" cy="385211"/>
          </a:xfrm>
          <a:prstGeom prst="rect">
            <a:avLst/>
          </a:prstGeom>
          <a:noFill/>
          <a:ln w="9525">
            <a:noFill/>
            <a:miter lim="800000"/>
            <a:headEnd/>
            <a:tailEnd/>
          </a:ln>
        </p:spPr>
      </p:pic>
      <p:pic>
        <p:nvPicPr>
          <p:cNvPr id="100354" name="Picture 2" descr="https://pbs.twimg.com/profile_images/969317315/CLEAN_sl-logo_400x400.jpg"/>
          <p:cNvPicPr>
            <a:picLocks noChangeAspect="1" noChangeArrowheads="1"/>
          </p:cNvPicPr>
          <p:nvPr/>
        </p:nvPicPr>
        <p:blipFill>
          <a:blip r:embed="rId9" cstate="print"/>
          <a:srcRect/>
          <a:stretch>
            <a:fillRect/>
          </a:stretch>
        </p:blipFill>
        <p:spPr bwMode="auto">
          <a:xfrm>
            <a:off x="2552368" y="4071066"/>
            <a:ext cx="502257" cy="502257"/>
          </a:xfrm>
          <a:prstGeom prst="rect">
            <a:avLst/>
          </a:prstGeom>
          <a:noFill/>
        </p:spPr>
      </p:pic>
    </p:spTree>
    <p:extLst>
      <p:ext uri="{BB962C8B-B14F-4D97-AF65-F5344CB8AC3E}">
        <p14:creationId xmlns:p14="http://schemas.microsoft.com/office/powerpoint/2010/main" val="4194678254"/>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sz="1600" dirty="0" smtClean="0"/>
              <a:t>Managed operations:</a:t>
            </a:r>
          </a:p>
          <a:p>
            <a:pPr lvl="1"/>
            <a:r>
              <a:rPr lang="en-US" sz="1400" dirty="0" smtClean="0"/>
              <a:t>Proactive monitoring for availability of critical platform components</a:t>
            </a:r>
          </a:p>
          <a:p>
            <a:pPr lvl="1"/>
            <a:r>
              <a:rPr lang="en-US" sz="1400" dirty="0" smtClean="0"/>
              <a:t>Ongoing patching for high severity fixes, security flaws, and new functionality</a:t>
            </a:r>
          </a:p>
          <a:p>
            <a:pPr lvl="1"/>
            <a:r>
              <a:rPr lang="en-US" sz="1400" dirty="0" smtClean="0"/>
              <a:t>24 x 7 severity level-one support</a:t>
            </a:r>
            <a:endParaRPr lang="en-US" sz="1400" dirty="0"/>
          </a:p>
        </p:txBody>
      </p:sp>
      <p:sp>
        <p:nvSpPr>
          <p:cNvPr id="7" name="Rectangle 5"/>
          <p:cNvSpPr>
            <a:spLocks noChangeArrowheads="1"/>
          </p:cNvSpPr>
          <p:nvPr/>
        </p:nvSpPr>
        <p:spPr bwMode="auto">
          <a:xfrm>
            <a:off x="508460" y="3382113"/>
            <a:ext cx="8058818" cy="371513"/>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0A5889"/>
                </a:solidFill>
                <a:latin typeface="Helvetica Neue Light" charset="0"/>
                <a:ea typeface="Helvetica Neue Light" charset="0"/>
                <a:cs typeface="Helvetica Neue Light" charset="0"/>
              </a:rPr>
              <a:t>Managed by </a:t>
            </a:r>
            <a:r>
              <a:rPr lang="en-US" b="1" dirty="0" smtClean="0">
                <a:solidFill>
                  <a:srgbClr val="0A5889"/>
                </a:solidFill>
                <a:latin typeface="Helvetica Neue Light" charset="0"/>
                <a:ea typeface="Helvetica Neue Light" charset="0"/>
                <a:cs typeface="Helvetica Neue Light" charset="0"/>
              </a:rPr>
              <a:t>IBM</a:t>
            </a:r>
            <a:endParaRPr lang="en-US" b="1" dirty="0">
              <a:solidFill>
                <a:srgbClr val="0A5889"/>
              </a:solidFill>
              <a:latin typeface="Helvetica Neue Light" charset="0"/>
              <a:ea typeface="Helvetica Neue Light" charset="0"/>
              <a:cs typeface="Helvetica Neue Light" charset="0"/>
            </a:endParaRPr>
          </a:p>
        </p:txBody>
      </p:sp>
      <p:sp>
        <p:nvSpPr>
          <p:cNvPr id="8" name="Rectangle 5"/>
          <p:cNvSpPr>
            <a:spLocks noChangeArrowheads="1"/>
          </p:cNvSpPr>
          <p:nvPr/>
        </p:nvSpPr>
        <p:spPr bwMode="auto">
          <a:xfrm>
            <a:off x="508460" y="2141621"/>
            <a:ext cx="8058818" cy="371513"/>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lgn="ctr">
              <a:defRPr/>
            </a:pPr>
            <a:r>
              <a:rPr lang="en-US" dirty="0" smtClean="0">
                <a:solidFill>
                  <a:srgbClr val="1DA083"/>
                </a:solidFill>
                <a:latin typeface="Helvetica Neue Light" charset="0"/>
                <a:ea typeface="Helvetica Neue Light" charset="0"/>
                <a:cs typeface="Helvetica Neue Light" charset="0"/>
              </a:rPr>
              <a:t>Managed by </a:t>
            </a:r>
            <a:r>
              <a:rPr lang="en-US" b="1" dirty="0" smtClean="0">
                <a:solidFill>
                  <a:srgbClr val="1DA083"/>
                </a:solidFill>
                <a:latin typeface="Helvetica Neue Light" charset="0"/>
                <a:ea typeface="Helvetica Neue Light" charset="0"/>
                <a:cs typeface="Helvetica Neue Light" charset="0"/>
              </a:rPr>
              <a:t>Customers</a:t>
            </a:r>
            <a:endParaRPr lang="en-US" b="1" dirty="0">
              <a:solidFill>
                <a:srgbClr val="1DA083"/>
              </a:solidFill>
              <a:latin typeface="Helvetica Neue Light" charset="0"/>
              <a:ea typeface="Helvetica Neue Light" charset="0"/>
              <a:cs typeface="Helvetica Neue Light" charset="0"/>
            </a:endParaRPr>
          </a:p>
        </p:txBody>
      </p:sp>
      <p:sp>
        <p:nvSpPr>
          <p:cNvPr id="2" name="Title 1"/>
          <p:cNvSpPr>
            <a:spLocks noGrp="1"/>
          </p:cNvSpPr>
          <p:nvPr>
            <p:ph type="title"/>
          </p:nvPr>
        </p:nvSpPr>
        <p:spPr/>
        <p:txBody>
          <a:bodyPr/>
          <a:lstStyle/>
          <a:p>
            <a:r>
              <a:rPr lang="en-US" sz="2000" dirty="0" smtClean="0"/>
              <a:t>IBM BigInsights on Cloud – Scope of Managed Operations</a:t>
            </a:r>
            <a:endParaRPr lang="en-US" sz="2000" dirty="0"/>
          </a:p>
        </p:txBody>
      </p:sp>
      <p:graphicFrame>
        <p:nvGraphicFramePr>
          <p:cNvPr id="4" name="Diagram 3"/>
          <p:cNvGraphicFramePr/>
          <p:nvPr>
            <p:extLst/>
          </p:nvPr>
        </p:nvGraphicFramePr>
        <p:xfrm>
          <a:off x="508460" y="2488132"/>
          <a:ext cx="8058818" cy="8400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nvPr>
        </p:nvGraphicFramePr>
        <p:xfrm>
          <a:off x="508460" y="3728625"/>
          <a:ext cx="8058818" cy="8400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04864556"/>
      </p:ext>
    </p:extLst>
  </p:cSld>
  <p:clrMapOvr>
    <a:masterClrMapping/>
  </p:clrMapOvr>
  <p:transition spd="med"/>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19270" y="278296"/>
            <a:ext cx="954157" cy="6122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rgbClr val="FFFFFF"/>
              </a:solidFill>
            </a:endParaRPr>
          </a:p>
        </p:txBody>
      </p:sp>
      <p:sp>
        <p:nvSpPr>
          <p:cNvPr id="93" name="Rectangle 5"/>
          <p:cNvSpPr>
            <a:spLocks noChangeArrowheads="1"/>
          </p:cNvSpPr>
          <p:nvPr/>
        </p:nvSpPr>
        <p:spPr bwMode="auto">
          <a:xfrm>
            <a:off x="534055" y="462845"/>
            <a:ext cx="8072063"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IBM Open Platform (IOP) with Apache Hadoop </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100% open source distribution, Open Data Platform Initiative (</a:t>
            </a:r>
            <a:r>
              <a:rPr lang="en-US" sz="1200" dirty="0" err="1" smtClean="0">
                <a:solidFill>
                  <a:srgbClr val="0A5889"/>
                </a:solidFill>
                <a:latin typeface="Helvetica Neue Light" charset="0"/>
                <a:ea typeface="Helvetica Neue Light" charset="0"/>
                <a:cs typeface="Helvetica Neue Light" charset="0"/>
              </a:rPr>
              <a:t>ODPi</a:t>
            </a:r>
            <a:r>
              <a:rPr lang="en-US" sz="1200" dirty="0" smtClean="0">
                <a:solidFill>
                  <a:srgbClr val="0A5889"/>
                </a:solidFill>
                <a:latin typeface="Helvetica Neue Light" charset="0"/>
                <a:ea typeface="Helvetica Neue Light" charset="0"/>
                <a:cs typeface="Helvetica Neue Light" charset="0"/>
              </a:rPr>
              <a:t>) standards, free for production use</a:t>
            </a:r>
            <a:endParaRPr lang="en-US" sz="1200" dirty="0">
              <a:solidFill>
                <a:srgbClr val="0A5889"/>
              </a:solidFill>
              <a:latin typeface="Helvetica Neue Light" charset="0"/>
              <a:ea typeface="Helvetica Neue Light" charset="0"/>
              <a:cs typeface="Helvetica Neue Light" charset="0"/>
            </a:endParaRPr>
          </a:p>
        </p:txBody>
      </p:sp>
      <p:sp>
        <p:nvSpPr>
          <p:cNvPr id="38" name="Rounded Rectangle 37"/>
          <p:cNvSpPr/>
          <p:nvPr/>
        </p:nvSpPr>
        <p:spPr>
          <a:xfrm>
            <a:off x="534055" y="944706"/>
            <a:ext cx="8072063" cy="943395"/>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9" name="Diagram 38"/>
          <p:cNvGraphicFramePr/>
          <p:nvPr>
            <p:extLst/>
          </p:nvPr>
        </p:nvGraphicFramePr>
        <p:xfrm>
          <a:off x="782279" y="1001197"/>
          <a:ext cx="7527222" cy="385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0" name="Diagram 39"/>
          <p:cNvGraphicFramePr/>
          <p:nvPr>
            <p:extLst/>
          </p:nvPr>
        </p:nvGraphicFramePr>
        <p:xfrm>
          <a:off x="782279" y="1465679"/>
          <a:ext cx="7527222" cy="3856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6" name="Title 4"/>
          <p:cNvSpPr txBox="1">
            <a:spLocks/>
          </p:cNvSpPr>
          <p:nvPr/>
        </p:nvSpPr>
        <p:spPr bwMode="auto">
          <a:xfrm>
            <a:off x="167428" y="13098"/>
            <a:ext cx="8805863" cy="44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ＭＳ Ｐゴシック"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2000" dirty="0">
                <a:solidFill>
                  <a:srgbClr val="000000"/>
                </a:solidFill>
              </a:rPr>
              <a:t>IBM BigInsights on Cloud – </a:t>
            </a:r>
            <a:r>
              <a:rPr lang="en-US" sz="2000" dirty="0" smtClean="0">
                <a:solidFill>
                  <a:srgbClr val="000000"/>
                </a:solidFill>
              </a:rPr>
              <a:t>v4.1 Paid Add-on </a:t>
            </a:r>
            <a:r>
              <a:rPr lang="en-US" sz="2000" dirty="0">
                <a:solidFill>
                  <a:srgbClr val="000000"/>
                </a:solidFill>
              </a:rPr>
              <a:t>Modules</a:t>
            </a:r>
          </a:p>
        </p:txBody>
      </p:sp>
    </p:spTree>
    <p:extLst>
      <p:ext uri="{BB962C8B-B14F-4D97-AF65-F5344CB8AC3E}">
        <p14:creationId xmlns:p14="http://schemas.microsoft.com/office/powerpoint/2010/main" val="1897158942"/>
      </p:ext>
    </p:extLst>
  </p:cSld>
  <p:clrMapOvr>
    <a:masterClrMapping/>
  </p:clrMapOvr>
  <p:transition spd="med"/>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119270" y="278296"/>
            <a:ext cx="954157" cy="6122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rgbClr val="FFFFFF"/>
              </a:solidFill>
            </a:endParaRPr>
          </a:p>
        </p:txBody>
      </p:sp>
      <p:sp>
        <p:nvSpPr>
          <p:cNvPr id="36" name="Title 4"/>
          <p:cNvSpPr txBox="1">
            <a:spLocks/>
          </p:cNvSpPr>
          <p:nvPr/>
        </p:nvSpPr>
        <p:spPr bwMode="auto">
          <a:xfrm>
            <a:off x="167428" y="13098"/>
            <a:ext cx="8805863" cy="44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ＭＳ Ｐゴシック"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2000" dirty="0">
                <a:solidFill>
                  <a:srgbClr val="000000"/>
                </a:solidFill>
              </a:rPr>
              <a:t>IBM BigInsights on Cloud – </a:t>
            </a:r>
            <a:r>
              <a:rPr lang="en-US" sz="2000" dirty="0" smtClean="0">
                <a:solidFill>
                  <a:srgbClr val="000000"/>
                </a:solidFill>
              </a:rPr>
              <a:t>v4.1 Paid Add-on </a:t>
            </a:r>
            <a:r>
              <a:rPr lang="en-US" sz="2000" dirty="0">
                <a:solidFill>
                  <a:srgbClr val="000000"/>
                </a:solidFill>
              </a:rPr>
              <a:t>Modules</a:t>
            </a:r>
          </a:p>
        </p:txBody>
      </p:sp>
      <p:sp>
        <p:nvSpPr>
          <p:cNvPr id="23" name="Rectangle 5"/>
          <p:cNvSpPr>
            <a:spLocks noChangeArrowheads="1"/>
          </p:cNvSpPr>
          <p:nvPr/>
        </p:nvSpPr>
        <p:spPr bwMode="auto">
          <a:xfrm>
            <a:off x="534055" y="462845"/>
            <a:ext cx="8072063"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IBM Open Platform (IOP) with Apache Hadoop </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100% open source distribution, Open Data Platform Initiative (</a:t>
            </a:r>
            <a:r>
              <a:rPr lang="en-US" sz="1200" dirty="0" err="1" smtClean="0">
                <a:solidFill>
                  <a:srgbClr val="0A5889"/>
                </a:solidFill>
                <a:latin typeface="Helvetica Neue Light" charset="0"/>
                <a:ea typeface="Helvetica Neue Light" charset="0"/>
                <a:cs typeface="Helvetica Neue Light" charset="0"/>
              </a:rPr>
              <a:t>ODPi</a:t>
            </a:r>
            <a:r>
              <a:rPr lang="en-US" sz="1200" dirty="0" smtClean="0">
                <a:solidFill>
                  <a:srgbClr val="0A5889"/>
                </a:solidFill>
                <a:latin typeface="Helvetica Neue Light" charset="0"/>
                <a:ea typeface="Helvetica Neue Light" charset="0"/>
                <a:cs typeface="Helvetica Neue Light" charset="0"/>
              </a:rPr>
              <a:t>) standards, free for production use</a:t>
            </a:r>
            <a:endParaRPr lang="en-US" sz="1200" dirty="0">
              <a:solidFill>
                <a:srgbClr val="0A5889"/>
              </a:solidFill>
              <a:latin typeface="Helvetica Neue Light" charset="0"/>
              <a:ea typeface="Helvetica Neue Light" charset="0"/>
              <a:cs typeface="Helvetica Neue Light" charset="0"/>
            </a:endParaRPr>
          </a:p>
        </p:txBody>
      </p:sp>
      <p:sp>
        <p:nvSpPr>
          <p:cNvPr id="38" name="Rounded Rectangle 37"/>
          <p:cNvSpPr/>
          <p:nvPr/>
        </p:nvSpPr>
        <p:spPr>
          <a:xfrm>
            <a:off x="534055" y="944706"/>
            <a:ext cx="8072063" cy="943395"/>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9" name="Diagram 38"/>
          <p:cNvGraphicFramePr/>
          <p:nvPr>
            <p:extLst/>
          </p:nvPr>
        </p:nvGraphicFramePr>
        <p:xfrm>
          <a:off x="782279" y="1001197"/>
          <a:ext cx="7527222" cy="385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2" name="Rectangle 5"/>
          <p:cNvSpPr>
            <a:spLocks noChangeArrowheads="1"/>
          </p:cNvSpPr>
          <p:nvPr/>
        </p:nvSpPr>
        <p:spPr bwMode="auto">
          <a:xfrm>
            <a:off x="534055" y="1988343"/>
            <a:ext cx="7407965"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BigInsights Analyst Module</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Includes Big SQL, BigSheets, and the IOP stack</a:t>
            </a:r>
            <a:endParaRPr lang="en-US" sz="1200" dirty="0">
              <a:solidFill>
                <a:srgbClr val="0A5889"/>
              </a:solidFill>
              <a:latin typeface="Helvetica Neue Light" charset="0"/>
              <a:ea typeface="Helvetica Neue Light" charset="0"/>
              <a:cs typeface="Helvetica Neue Light" charset="0"/>
            </a:endParaRPr>
          </a:p>
        </p:txBody>
      </p:sp>
      <p:graphicFrame>
        <p:nvGraphicFramePr>
          <p:cNvPr id="40" name="Diagram 39"/>
          <p:cNvGraphicFramePr/>
          <p:nvPr>
            <p:extLst/>
          </p:nvPr>
        </p:nvGraphicFramePr>
        <p:xfrm>
          <a:off x="782279" y="1465679"/>
          <a:ext cx="7527222" cy="3856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 name="Group 29"/>
          <p:cNvGrpSpPr/>
          <p:nvPr/>
        </p:nvGrpSpPr>
        <p:grpSpPr>
          <a:xfrm>
            <a:off x="532408" y="2472961"/>
            <a:ext cx="8073711" cy="943395"/>
            <a:chOff x="853207" y="1692807"/>
            <a:chExt cx="7407965" cy="2459746"/>
          </a:xfrm>
        </p:grpSpPr>
        <p:sp>
          <p:nvSpPr>
            <p:cNvPr id="31" name="Rounded Rectangle 30"/>
            <p:cNvSpPr/>
            <p:nvPr/>
          </p:nvSpPr>
          <p:spPr>
            <a:xfrm>
              <a:off x="853207" y="1692807"/>
              <a:ext cx="7407965" cy="2459746"/>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2" name="Diagram 31"/>
            <p:cNvGraphicFramePr/>
            <p:nvPr>
              <p:extLst/>
            </p:nvPr>
          </p:nvGraphicFramePr>
          <p:xfrm>
            <a:off x="1101430" y="3001835"/>
            <a:ext cx="6907949" cy="100542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graphicFrame>
        <p:nvGraphicFramePr>
          <p:cNvPr id="34" name="Diagram 33"/>
          <p:cNvGraphicFramePr/>
          <p:nvPr>
            <p:extLst/>
          </p:nvPr>
        </p:nvGraphicFramePr>
        <p:xfrm>
          <a:off x="802938" y="2961210"/>
          <a:ext cx="7528759" cy="38561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37" name="Diagram 36"/>
          <p:cNvGraphicFramePr/>
          <p:nvPr>
            <p:extLst/>
          </p:nvPr>
        </p:nvGraphicFramePr>
        <p:xfrm>
          <a:off x="802937" y="2519871"/>
          <a:ext cx="7528759" cy="385613"/>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Tree>
    <p:extLst>
      <p:ext uri="{BB962C8B-B14F-4D97-AF65-F5344CB8AC3E}">
        <p14:creationId xmlns:p14="http://schemas.microsoft.com/office/powerpoint/2010/main" val="2710817854"/>
      </p:ext>
    </p:extLst>
  </p:cSld>
  <p:clrMapOvr>
    <a:masterClrMapping/>
  </p:clrMapOvr>
  <p:transition spd="med"/>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119270" y="278296"/>
            <a:ext cx="954157" cy="6122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solidFill>
                <a:srgbClr val="FFFFFF"/>
              </a:solidFill>
            </a:endParaRPr>
          </a:p>
        </p:txBody>
      </p:sp>
      <p:sp>
        <p:nvSpPr>
          <p:cNvPr id="7" name="Rectangle 5"/>
          <p:cNvSpPr>
            <a:spLocks noChangeArrowheads="1"/>
          </p:cNvSpPr>
          <p:nvPr/>
        </p:nvSpPr>
        <p:spPr bwMode="auto">
          <a:xfrm>
            <a:off x="534055" y="462845"/>
            <a:ext cx="8072063"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IBM Open Platform (IOP) with Apache Hadoop </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100% open source distribution, Open Data Platform Initiative (</a:t>
            </a:r>
            <a:r>
              <a:rPr lang="en-US" sz="1200" dirty="0" err="1" smtClean="0">
                <a:solidFill>
                  <a:srgbClr val="0A5889"/>
                </a:solidFill>
                <a:latin typeface="Helvetica Neue Light" charset="0"/>
                <a:ea typeface="Helvetica Neue Light" charset="0"/>
                <a:cs typeface="Helvetica Neue Light" charset="0"/>
              </a:rPr>
              <a:t>ODPi</a:t>
            </a:r>
            <a:r>
              <a:rPr lang="en-US" sz="1200" dirty="0" smtClean="0">
                <a:solidFill>
                  <a:srgbClr val="0A5889"/>
                </a:solidFill>
                <a:latin typeface="Helvetica Neue Light" charset="0"/>
                <a:ea typeface="Helvetica Neue Light" charset="0"/>
                <a:cs typeface="Helvetica Neue Light" charset="0"/>
              </a:rPr>
              <a:t>) standards, free for production use</a:t>
            </a:r>
            <a:endParaRPr lang="en-US" sz="1200" dirty="0">
              <a:solidFill>
                <a:srgbClr val="0A5889"/>
              </a:solidFill>
              <a:latin typeface="Helvetica Neue Light" charset="0"/>
              <a:ea typeface="Helvetica Neue Light" charset="0"/>
              <a:cs typeface="Helvetica Neue Light" charset="0"/>
            </a:endParaRPr>
          </a:p>
        </p:txBody>
      </p:sp>
      <p:sp>
        <p:nvSpPr>
          <p:cNvPr id="52" name="Rectangle 5"/>
          <p:cNvSpPr>
            <a:spLocks noChangeArrowheads="1"/>
          </p:cNvSpPr>
          <p:nvPr/>
        </p:nvSpPr>
        <p:spPr bwMode="auto">
          <a:xfrm>
            <a:off x="534055" y="1988343"/>
            <a:ext cx="7407965"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BigInsights Analyst Module</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Includes Big SQL, BigSheets, and the IOP stack</a:t>
            </a:r>
            <a:endParaRPr lang="en-US" sz="1200" dirty="0">
              <a:solidFill>
                <a:srgbClr val="0A5889"/>
              </a:solidFill>
              <a:latin typeface="Helvetica Neue Light" charset="0"/>
              <a:ea typeface="Helvetica Neue Light" charset="0"/>
              <a:cs typeface="Helvetica Neue Light" charset="0"/>
            </a:endParaRPr>
          </a:p>
        </p:txBody>
      </p:sp>
      <p:sp>
        <p:nvSpPr>
          <p:cNvPr id="92" name="Rectangle 5"/>
          <p:cNvSpPr>
            <a:spLocks noChangeArrowheads="1"/>
          </p:cNvSpPr>
          <p:nvPr/>
        </p:nvSpPr>
        <p:spPr bwMode="auto">
          <a:xfrm>
            <a:off x="532408" y="3575208"/>
            <a:ext cx="8073711" cy="525401"/>
          </a:xfrm>
          <a:prstGeom prst="rect">
            <a:avLst/>
          </a:prstGeom>
          <a:solidFill>
            <a:schemeClr val="bg1"/>
          </a:solid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square" lIns="90000" tIns="46800" rIns="90000" bIns="46800">
            <a:spAutoFit/>
          </a:bodyPr>
          <a:lstStyle/>
          <a:p>
            <a:pPr>
              <a:defRPr/>
            </a:pPr>
            <a:r>
              <a:rPr lang="en-US" sz="1600" b="1" dirty="0" smtClean="0">
                <a:solidFill>
                  <a:srgbClr val="0A5889"/>
                </a:solidFill>
                <a:latin typeface="Helvetica Neue Light" charset="0"/>
                <a:ea typeface="Helvetica Neue Light" charset="0"/>
                <a:cs typeface="Helvetica Neue Light" charset="0"/>
              </a:rPr>
              <a:t>BigInsights Data Scientist Module</a:t>
            </a:r>
          </a:p>
          <a:p>
            <a:pPr marL="285750" indent="-285750">
              <a:buFont typeface="Wingdings" charset="2"/>
              <a:buChar char="§"/>
              <a:defRPr/>
            </a:pPr>
            <a:r>
              <a:rPr lang="en-US" sz="1200" dirty="0" smtClean="0">
                <a:solidFill>
                  <a:srgbClr val="0A5889"/>
                </a:solidFill>
                <a:latin typeface="Helvetica Neue Light" charset="0"/>
                <a:ea typeface="Helvetica Neue Light" charset="0"/>
                <a:cs typeface="Helvetica Neue Light" charset="0"/>
              </a:rPr>
              <a:t>Includes Big R, machine learning &amp; text analytics libraries, as well as Analyst Module and IOP stacks </a:t>
            </a:r>
            <a:endParaRPr lang="en-US" sz="1200" dirty="0">
              <a:solidFill>
                <a:srgbClr val="0A5889"/>
              </a:solidFill>
              <a:latin typeface="Helvetica Neue Light" charset="0"/>
              <a:ea typeface="Helvetica Neue Light" charset="0"/>
              <a:cs typeface="Helvetica Neue Light" charset="0"/>
            </a:endParaRPr>
          </a:p>
        </p:txBody>
      </p:sp>
      <p:sp>
        <p:nvSpPr>
          <p:cNvPr id="36" name="Title 4"/>
          <p:cNvSpPr txBox="1">
            <a:spLocks/>
          </p:cNvSpPr>
          <p:nvPr/>
        </p:nvSpPr>
        <p:spPr bwMode="auto">
          <a:xfrm>
            <a:off x="167428" y="13098"/>
            <a:ext cx="8805863" cy="448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45720" rIns="91440" bIns="45720" numCol="1" anchor="ctr" anchorCtr="0" compatLnSpc="1">
            <a:prstTxWarp prst="textNoShape">
              <a:avLst/>
            </a:prstTxWarp>
          </a:bodyPr>
          <a:lstStyle>
            <a:lvl1pPr algn="l" rtl="0" eaLnBrk="1" fontAlgn="base" hangingPunct="1">
              <a:spcBef>
                <a:spcPct val="0"/>
              </a:spcBef>
              <a:spcAft>
                <a:spcPct val="0"/>
              </a:spcAft>
              <a:defRPr sz="2400">
                <a:solidFill>
                  <a:schemeClr val="tx1"/>
                </a:solidFill>
                <a:latin typeface="+mj-lt"/>
                <a:ea typeface="+mj-ea"/>
                <a:cs typeface="ＭＳ Ｐゴシック" charset="0"/>
              </a:defRPr>
            </a:lvl1pPr>
            <a:lvl2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2pPr>
            <a:lvl3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3pPr>
            <a:lvl4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4pPr>
            <a:lvl5pPr algn="l" rtl="0" eaLnBrk="1" fontAlgn="base" hangingPunct="1">
              <a:spcBef>
                <a:spcPct val="0"/>
              </a:spcBef>
              <a:spcAft>
                <a:spcPct val="0"/>
              </a:spcAft>
              <a:defRPr sz="2200">
                <a:solidFill>
                  <a:schemeClr val="tx1"/>
                </a:solidFill>
                <a:latin typeface="Arial" charset="0"/>
                <a:ea typeface="ＭＳ Ｐゴシック" charset="0"/>
                <a:cs typeface="ＭＳ Ｐゴシック" charset="0"/>
              </a:defRPr>
            </a:lvl5pPr>
            <a:lvl6pPr marL="457200" algn="l" rtl="0" eaLnBrk="1" fontAlgn="base" hangingPunct="1">
              <a:spcBef>
                <a:spcPct val="0"/>
              </a:spcBef>
              <a:spcAft>
                <a:spcPct val="0"/>
              </a:spcAft>
              <a:defRPr sz="2200">
                <a:solidFill>
                  <a:schemeClr val="tx1"/>
                </a:solidFill>
                <a:latin typeface="Arial" charset="0"/>
                <a:ea typeface="ＭＳ Ｐゴシック" charset="0"/>
              </a:defRPr>
            </a:lvl6pPr>
            <a:lvl7pPr marL="914400" algn="l" rtl="0" eaLnBrk="1" fontAlgn="base" hangingPunct="1">
              <a:spcBef>
                <a:spcPct val="0"/>
              </a:spcBef>
              <a:spcAft>
                <a:spcPct val="0"/>
              </a:spcAft>
              <a:defRPr sz="2200">
                <a:solidFill>
                  <a:schemeClr val="tx1"/>
                </a:solidFill>
                <a:latin typeface="Arial" charset="0"/>
                <a:ea typeface="ＭＳ Ｐゴシック" charset="0"/>
              </a:defRPr>
            </a:lvl7pPr>
            <a:lvl8pPr marL="1371600" algn="l" rtl="0" eaLnBrk="1" fontAlgn="base" hangingPunct="1">
              <a:spcBef>
                <a:spcPct val="0"/>
              </a:spcBef>
              <a:spcAft>
                <a:spcPct val="0"/>
              </a:spcAft>
              <a:defRPr sz="2200">
                <a:solidFill>
                  <a:schemeClr val="tx1"/>
                </a:solidFill>
                <a:latin typeface="Arial" charset="0"/>
                <a:ea typeface="ＭＳ Ｐゴシック" charset="0"/>
              </a:defRPr>
            </a:lvl8pPr>
            <a:lvl9pPr marL="1828800" algn="l" rtl="0" eaLnBrk="1" fontAlgn="base" hangingPunct="1">
              <a:spcBef>
                <a:spcPct val="0"/>
              </a:spcBef>
              <a:spcAft>
                <a:spcPct val="0"/>
              </a:spcAft>
              <a:defRPr sz="2200">
                <a:solidFill>
                  <a:schemeClr val="tx1"/>
                </a:solidFill>
                <a:latin typeface="Arial" charset="0"/>
                <a:ea typeface="ＭＳ Ｐゴシック" charset="0"/>
              </a:defRPr>
            </a:lvl9pPr>
          </a:lstStyle>
          <a:p>
            <a:r>
              <a:rPr lang="en-US" sz="2000" dirty="0">
                <a:solidFill>
                  <a:srgbClr val="000000"/>
                </a:solidFill>
              </a:rPr>
              <a:t>IBM BigInsights on Cloud – </a:t>
            </a:r>
            <a:r>
              <a:rPr lang="en-US" sz="2000" dirty="0" smtClean="0">
                <a:solidFill>
                  <a:srgbClr val="000000"/>
                </a:solidFill>
              </a:rPr>
              <a:t>v4.1 Paid Add-on </a:t>
            </a:r>
            <a:r>
              <a:rPr lang="en-US" sz="2000" dirty="0">
                <a:solidFill>
                  <a:srgbClr val="000000"/>
                </a:solidFill>
              </a:rPr>
              <a:t>Modules</a:t>
            </a:r>
          </a:p>
        </p:txBody>
      </p:sp>
      <p:sp>
        <p:nvSpPr>
          <p:cNvPr id="38" name="Rounded Rectangle 37"/>
          <p:cNvSpPr/>
          <p:nvPr/>
        </p:nvSpPr>
        <p:spPr>
          <a:xfrm>
            <a:off x="534055" y="944706"/>
            <a:ext cx="8072063" cy="943395"/>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9" name="Diagram 38"/>
          <p:cNvGraphicFramePr/>
          <p:nvPr>
            <p:extLst/>
          </p:nvPr>
        </p:nvGraphicFramePr>
        <p:xfrm>
          <a:off x="782279" y="1001197"/>
          <a:ext cx="7527222" cy="3856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0" name="Diagram 39"/>
          <p:cNvGraphicFramePr/>
          <p:nvPr>
            <p:extLst/>
          </p:nvPr>
        </p:nvGraphicFramePr>
        <p:xfrm>
          <a:off x="782279" y="1465679"/>
          <a:ext cx="7527222" cy="38561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grpSp>
        <p:nvGrpSpPr>
          <p:cNvPr id="2" name="Group 29"/>
          <p:cNvGrpSpPr/>
          <p:nvPr/>
        </p:nvGrpSpPr>
        <p:grpSpPr>
          <a:xfrm>
            <a:off x="532408" y="2472961"/>
            <a:ext cx="8073711" cy="943395"/>
            <a:chOff x="853207" y="1692807"/>
            <a:chExt cx="7407965" cy="2459746"/>
          </a:xfrm>
        </p:grpSpPr>
        <p:sp>
          <p:nvSpPr>
            <p:cNvPr id="31" name="Rounded Rectangle 30"/>
            <p:cNvSpPr/>
            <p:nvPr/>
          </p:nvSpPr>
          <p:spPr>
            <a:xfrm>
              <a:off x="853207" y="1692807"/>
              <a:ext cx="7407965" cy="2459746"/>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32" name="Diagram 31"/>
            <p:cNvGraphicFramePr/>
            <p:nvPr>
              <p:extLst/>
            </p:nvPr>
          </p:nvGraphicFramePr>
          <p:xfrm>
            <a:off x="1101430" y="3001835"/>
            <a:ext cx="6907949" cy="100542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grpSp>
      <p:graphicFrame>
        <p:nvGraphicFramePr>
          <p:cNvPr id="34" name="Diagram 33"/>
          <p:cNvGraphicFramePr/>
          <p:nvPr>
            <p:extLst/>
          </p:nvPr>
        </p:nvGraphicFramePr>
        <p:xfrm>
          <a:off x="802938" y="2961210"/>
          <a:ext cx="7528759" cy="385613"/>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graphicFrame>
        <p:nvGraphicFramePr>
          <p:cNvPr id="37" name="Diagram 36"/>
          <p:cNvGraphicFramePr/>
          <p:nvPr>
            <p:extLst/>
          </p:nvPr>
        </p:nvGraphicFramePr>
        <p:xfrm>
          <a:off x="802937" y="2519871"/>
          <a:ext cx="7528759" cy="385613"/>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grpSp>
        <p:nvGrpSpPr>
          <p:cNvPr id="3" name="Group 86"/>
          <p:cNvGrpSpPr/>
          <p:nvPr/>
        </p:nvGrpSpPr>
        <p:grpSpPr>
          <a:xfrm>
            <a:off x="532408" y="4049353"/>
            <a:ext cx="8073711" cy="943395"/>
            <a:chOff x="853207" y="1692807"/>
            <a:chExt cx="7407965" cy="2459746"/>
          </a:xfrm>
        </p:grpSpPr>
        <p:sp>
          <p:nvSpPr>
            <p:cNvPr id="88" name="Rounded Rectangle 87"/>
            <p:cNvSpPr/>
            <p:nvPr/>
          </p:nvSpPr>
          <p:spPr>
            <a:xfrm>
              <a:off x="853207" y="1692807"/>
              <a:ext cx="7407965" cy="2459746"/>
            </a:xfrm>
            <a:prstGeom prst="roundRect">
              <a:avLst/>
            </a:prstGeom>
            <a:solidFill>
              <a:srgbClr val="E7EDF9"/>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89" name="Diagram 88"/>
            <p:cNvGraphicFramePr/>
            <p:nvPr>
              <p:extLst/>
            </p:nvPr>
          </p:nvGraphicFramePr>
          <p:xfrm>
            <a:off x="1101430" y="3001835"/>
            <a:ext cx="6907949" cy="1005421"/>
          </p:xfrm>
          <a:graphic>
            <a:graphicData uri="http://schemas.openxmlformats.org/drawingml/2006/diagram">
              <dgm:relIds xmlns:dgm="http://schemas.openxmlformats.org/drawingml/2006/diagram" xmlns:r="http://schemas.openxmlformats.org/officeDocument/2006/relationships" r:dm="rId28" r:lo="rId29" r:qs="rId30" r:cs="rId31"/>
            </a:graphicData>
          </a:graphic>
        </p:graphicFrame>
      </p:grpSp>
      <p:graphicFrame>
        <p:nvGraphicFramePr>
          <p:cNvPr id="90" name="Diagram 89"/>
          <p:cNvGraphicFramePr/>
          <p:nvPr>
            <p:extLst/>
          </p:nvPr>
        </p:nvGraphicFramePr>
        <p:xfrm>
          <a:off x="802938" y="4537602"/>
          <a:ext cx="7528759" cy="385613"/>
        </p:xfrm>
        <a:graphic>
          <a:graphicData uri="http://schemas.openxmlformats.org/drawingml/2006/diagram">
            <dgm:relIds xmlns:dgm="http://schemas.openxmlformats.org/drawingml/2006/diagram" xmlns:r="http://schemas.openxmlformats.org/officeDocument/2006/relationships" r:dm="rId33" r:lo="rId34" r:qs="rId35" r:cs="rId36"/>
          </a:graphicData>
        </a:graphic>
      </p:graphicFrame>
      <p:graphicFrame>
        <p:nvGraphicFramePr>
          <p:cNvPr id="91" name="Diagram 90"/>
          <p:cNvGraphicFramePr/>
          <p:nvPr>
            <p:extLst/>
          </p:nvPr>
        </p:nvGraphicFramePr>
        <p:xfrm>
          <a:off x="802936" y="4107574"/>
          <a:ext cx="7528759" cy="385613"/>
        </p:xfrm>
        <a:graphic>
          <a:graphicData uri="http://schemas.openxmlformats.org/drawingml/2006/diagram">
            <dgm:relIds xmlns:dgm="http://schemas.openxmlformats.org/drawingml/2006/diagram" xmlns:r="http://schemas.openxmlformats.org/officeDocument/2006/relationships" r:dm="rId38" r:lo="rId39" r:qs="rId40" r:cs="rId41"/>
          </a:graphicData>
        </a:graphic>
      </p:graphicFrame>
    </p:spTree>
    <p:extLst>
      <p:ext uri="{BB962C8B-B14F-4D97-AF65-F5344CB8AC3E}">
        <p14:creationId xmlns:p14="http://schemas.microsoft.com/office/powerpoint/2010/main" val="465342023"/>
      </p:ext>
    </p:extLst>
  </p:cSld>
  <p:clrMapOvr>
    <a:masterClrMapping/>
  </p:clrMapOvr>
  <p:transition spd="med"/>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Insights Analyst Module – Detailed</a:t>
            </a:r>
            <a:endParaRPr lang="en-US" dirty="0"/>
          </a:p>
        </p:txBody>
      </p:sp>
      <p:sp>
        <p:nvSpPr>
          <p:cNvPr id="3" name="Content Placeholder 2"/>
          <p:cNvSpPr>
            <a:spLocks noGrp="1"/>
          </p:cNvSpPr>
          <p:nvPr>
            <p:ph idx="1"/>
          </p:nvPr>
        </p:nvSpPr>
        <p:spPr>
          <a:xfrm>
            <a:off x="266700" y="1971922"/>
            <a:ext cx="8542338" cy="2708935"/>
          </a:xfrm>
        </p:spPr>
        <p:txBody>
          <a:bodyPr/>
          <a:lstStyle/>
          <a:p>
            <a:r>
              <a:rPr lang="en-US" sz="1400" b="1" dirty="0" smtClean="0">
                <a:latin typeface="Helvetica Light" charset="0"/>
                <a:ea typeface="Helvetica Light" charset="0"/>
                <a:cs typeface="Helvetica Light" charset="0"/>
              </a:rPr>
              <a:t>Big SQL</a:t>
            </a:r>
          </a:p>
          <a:p>
            <a:pPr lvl="1"/>
            <a:r>
              <a:rPr lang="en-US" sz="1200" dirty="0" smtClean="0">
                <a:latin typeface="Helvetica Light" charset="0"/>
                <a:ea typeface="Helvetica Light" charset="0"/>
                <a:cs typeface="Helvetica Light" charset="0"/>
              </a:rPr>
              <a:t>ANSI SQL 2011 compliant, built for native Hadoop data sources</a:t>
            </a:r>
          </a:p>
          <a:p>
            <a:pPr lvl="1"/>
            <a:r>
              <a:rPr lang="en-US" sz="1200" dirty="0" smtClean="0">
                <a:latin typeface="Helvetica Light" charset="0"/>
                <a:ea typeface="Helvetica Light" charset="0"/>
                <a:cs typeface="Helvetica Light" charset="0"/>
              </a:rPr>
              <a:t>Executes queries </a:t>
            </a:r>
            <a:r>
              <a:rPr lang="en-US" sz="1200" b="1" dirty="0" smtClean="0">
                <a:latin typeface="Helvetica Light" charset="0"/>
                <a:ea typeface="Helvetica Light" charset="0"/>
                <a:cs typeface="Helvetica Light" charset="0"/>
              </a:rPr>
              <a:t>3.6x </a:t>
            </a:r>
            <a:r>
              <a:rPr lang="en-US" sz="1200" dirty="0" smtClean="0">
                <a:latin typeface="Helvetica Light" charset="0"/>
                <a:ea typeface="Helvetica Light" charset="0"/>
                <a:cs typeface="Helvetica Light" charset="0"/>
              </a:rPr>
              <a:t>faster than Impala, </a:t>
            </a:r>
            <a:r>
              <a:rPr lang="en-US" sz="1200" b="1" dirty="0" smtClean="0">
                <a:latin typeface="Helvetica Light" charset="0"/>
                <a:ea typeface="Helvetica Light" charset="0"/>
                <a:cs typeface="Helvetica Light" charset="0"/>
              </a:rPr>
              <a:t>5.4x</a:t>
            </a:r>
            <a:r>
              <a:rPr lang="en-US" sz="1200" dirty="0" smtClean="0">
                <a:latin typeface="Helvetica Light" charset="0"/>
                <a:ea typeface="Helvetica Light" charset="0"/>
                <a:cs typeface="Helvetica Light" charset="0"/>
              </a:rPr>
              <a:t> faster than Hive</a:t>
            </a:r>
          </a:p>
          <a:p>
            <a:pPr lvl="1"/>
            <a:r>
              <a:rPr lang="en-US" sz="1200" dirty="0" smtClean="0">
                <a:latin typeface="Helvetica Light" charset="0"/>
                <a:ea typeface="Helvetica Light" charset="0"/>
                <a:cs typeface="Helvetica Light" charset="0"/>
              </a:rPr>
              <a:t>Supports IBM Cognos, SPSS, MicroStrategy</a:t>
            </a:r>
          </a:p>
          <a:p>
            <a:pPr lvl="1"/>
            <a:r>
              <a:rPr lang="en-US" sz="1200" dirty="0" smtClean="0">
                <a:latin typeface="Helvetica Light" charset="0"/>
                <a:ea typeface="Helvetica Light" charset="0"/>
                <a:cs typeface="Helvetica Light" charset="0"/>
              </a:rPr>
              <a:t>Runs </a:t>
            </a:r>
            <a:r>
              <a:rPr lang="en-US" sz="1200" b="1" dirty="0" smtClean="0">
                <a:latin typeface="Helvetica Light" charset="0"/>
                <a:ea typeface="Helvetica Light" charset="0"/>
                <a:cs typeface="Helvetica Light" charset="0"/>
              </a:rPr>
              <a:t>100%</a:t>
            </a:r>
            <a:r>
              <a:rPr lang="en-US" sz="1200" dirty="0" smtClean="0">
                <a:latin typeface="Helvetica Light" charset="0"/>
                <a:ea typeface="Helvetica Light" charset="0"/>
                <a:cs typeface="Helvetica Light" charset="0"/>
              </a:rPr>
              <a:t> of TPC-DS (RDBMS benchmark standard) queries at 30TB scale</a:t>
            </a:r>
          </a:p>
          <a:p>
            <a:pPr lvl="1"/>
            <a:endParaRPr lang="en-US" sz="800" dirty="0" smtClean="0">
              <a:latin typeface="Helvetica Light" charset="0"/>
              <a:ea typeface="Helvetica Light" charset="0"/>
              <a:cs typeface="Helvetica Light" charset="0"/>
            </a:endParaRPr>
          </a:p>
          <a:p>
            <a:r>
              <a:rPr lang="en-US" sz="1400" b="1" dirty="0" smtClean="0">
                <a:latin typeface="Helvetica Light" charset="0"/>
                <a:ea typeface="Helvetica Light" charset="0"/>
                <a:cs typeface="Helvetica Light" charset="0"/>
              </a:rPr>
              <a:t>BigSheets</a:t>
            </a:r>
          </a:p>
          <a:p>
            <a:pPr lvl="1"/>
            <a:r>
              <a:rPr lang="en-US" sz="1200" dirty="0" smtClean="0">
                <a:latin typeface="Helvetica Light" charset="0"/>
                <a:ea typeface="Helvetica Light" charset="0"/>
                <a:cs typeface="Helvetica Light" charset="0"/>
              </a:rPr>
              <a:t>Spreadsheet-style analysis for business users</a:t>
            </a:r>
          </a:p>
          <a:p>
            <a:pPr lvl="1"/>
            <a:r>
              <a:rPr lang="en-US" sz="1200" dirty="0" smtClean="0">
                <a:latin typeface="Helvetica Light" charset="0"/>
                <a:ea typeface="Helvetica Light" charset="0"/>
                <a:cs typeface="Helvetica Light" charset="0"/>
              </a:rPr>
              <a:t>Scalable to massive datasets, multiple data sources</a:t>
            </a:r>
          </a:p>
          <a:p>
            <a:pPr lvl="1"/>
            <a:r>
              <a:rPr lang="en-US" sz="1200" dirty="0" smtClean="0">
                <a:latin typeface="Helvetica Light" charset="0"/>
                <a:ea typeface="Helvetica Light" charset="0"/>
                <a:cs typeface="Helvetica Light" charset="0"/>
              </a:rPr>
              <a:t>Built-in parsing for multiple (structured and semi-structured) data formats</a:t>
            </a:r>
          </a:p>
          <a:p>
            <a:pPr lvl="1"/>
            <a:r>
              <a:rPr lang="en-US" sz="1200" dirty="0" smtClean="0">
                <a:latin typeface="Helvetica Light" charset="0"/>
                <a:ea typeface="Helvetica Light" charset="0"/>
                <a:cs typeface="Helvetica Light" charset="0"/>
              </a:rPr>
              <a:t>Visualize results through spreadsheets, charts, and graphs</a:t>
            </a:r>
          </a:p>
          <a:p>
            <a:pPr lvl="1"/>
            <a:r>
              <a:rPr lang="en-US" sz="1200" dirty="0" smtClean="0">
                <a:latin typeface="Helvetica Light" charset="0"/>
                <a:ea typeface="Helvetica Light" charset="0"/>
                <a:cs typeface="Helvetica Light" charset="0"/>
              </a:rPr>
              <a:t>Entirely driven by graphical user interface (no programming skills required)</a:t>
            </a:r>
            <a:endParaRPr lang="en-US" sz="1200" dirty="0">
              <a:latin typeface="Helvetica Light" charset="0"/>
              <a:ea typeface="Helvetica Light" charset="0"/>
              <a:cs typeface="Helvetica Light" charset="0"/>
            </a:endParaRPr>
          </a:p>
        </p:txBody>
      </p:sp>
      <p:grpSp>
        <p:nvGrpSpPr>
          <p:cNvPr id="4" name="Group 13"/>
          <p:cNvGrpSpPr/>
          <p:nvPr/>
        </p:nvGrpSpPr>
        <p:grpSpPr>
          <a:xfrm>
            <a:off x="492066" y="821531"/>
            <a:ext cx="8073711" cy="943395"/>
            <a:chOff x="853207" y="1692807"/>
            <a:chExt cx="7407965" cy="2459746"/>
          </a:xfrm>
          <a:solidFill>
            <a:schemeClr val="bg1">
              <a:lumMod val="95000"/>
            </a:schemeClr>
          </a:solidFill>
        </p:grpSpPr>
        <p:sp>
          <p:nvSpPr>
            <p:cNvPr id="15" name="Rounded Rectangle 14"/>
            <p:cNvSpPr/>
            <p:nvPr/>
          </p:nvSpPr>
          <p:spPr>
            <a:xfrm>
              <a:off x="853207" y="1692807"/>
              <a:ext cx="7407965" cy="2459746"/>
            </a:xfrm>
            <a:prstGeom prst="roundRect">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16" name="Diagram 15"/>
            <p:cNvGraphicFramePr/>
            <p:nvPr>
              <p:extLst/>
            </p:nvPr>
          </p:nvGraphicFramePr>
          <p:xfrm>
            <a:off x="1101430" y="3001835"/>
            <a:ext cx="6907949" cy="10054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graphicFrame>
        <p:nvGraphicFramePr>
          <p:cNvPr id="17" name="Diagram 16"/>
          <p:cNvGraphicFramePr/>
          <p:nvPr>
            <p:extLst/>
          </p:nvPr>
        </p:nvGraphicFramePr>
        <p:xfrm>
          <a:off x="762596" y="1309780"/>
          <a:ext cx="7528759" cy="3856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8" name="Diagram 17"/>
          <p:cNvGraphicFramePr/>
          <p:nvPr>
            <p:extLst/>
          </p:nvPr>
        </p:nvGraphicFramePr>
        <p:xfrm>
          <a:off x="762595" y="868441"/>
          <a:ext cx="7528759" cy="38561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1184931639"/>
      </p:ext>
    </p:extLst>
  </p:cSld>
  <p:clrMapOvr>
    <a:masterClrMapping/>
  </p:clrMapOvr>
  <p:transition spd="med"/>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Insights Data Scientist Module – Detailed</a:t>
            </a:r>
            <a:endParaRPr lang="en-US" dirty="0"/>
          </a:p>
        </p:txBody>
      </p:sp>
      <p:sp>
        <p:nvSpPr>
          <p:cNvPr id="3" name="Content Placeholder 2"/>
          <p:cNvSpPr>
            <a:spLocks noGrp="1"/>
          </p:cNvSpPr>
          <p:nvPr>
            <p:ph idx="1"/>
          </p:nvPr>
        </p:nvSpPr>
        <p:spPr>
          <a:xfrm>
            <a:off x="266700" y="1884458"/>
            <a:ext cx="8542338" cy="2796399"/>
          </a:xfrm>
        </p:spPr>
        <p:txBody>
          <a:bodyPr/>
          <a:lstStyle/>
          <a:p>
            <a:r>
              <a:rPr lang="en-US" sz="1400" b="1" dirty="0" smtClean="0">
                <a:latin typeface="Helvetica Light" charset="0"/>
                <a:ea typeface="Helvetica Light" charset="0"/>
                <a:cs typeface="Helvetica Light" charset="0"/>
              </a:rPr>
              <a:t>Big R</a:t>
            </a:r>
          </a:p>
          <a:p>
            <a:pPr lvl="1"/>
            <a:r>
              <a:rPr lang="en-US" sz="1200" dirty="0" smtClean="0">
                <a:latin typeface="Helvetica Light" charset="0"/>
                <a:ea typeface="Helvetica Light" charset="0"/>
                <a:cs typeface="Helvetica Light" charset="0"/>
              </a:rPr>
              <a:t>Explore, visualize, and transform BigInsights data using R language syntax</a:t>
            </a:r>
          </a:p>
          <a:p>
            <a:pPr lvl="1"/>
            <a:r>
              <a:rPr lang="en-US" sz="1200" dirty="0" smtClean="0">
                <a:latin typeface="Helvetica Light" charset="0"/>
                <a:ea typeface="Helvetica Light" charset="0"/>
                <a:cs typeface="Helvetica Light" charset="0"/>
              </a:rPr>
              <a:t>Partitioning of large data &amp; parallel cluster execution of push-down R code</a:t>
            </a:r>
          </a:p>
          <a:p>
            <a:pPr lvl="1"/>
            <a:r>
              <a:rPr lang="en-US" sz="1200" dirty="0" smtClean="0">
                <a:latin typeface="Helvetica Light" charset="0"/>
                <a:ea typeface="Helvetica Light" charset="0"/>
                <a:cs typeface="Helvetica Light" charset="0"/>
              </a:rPr>
              <a:t>Connect against BigInsights using RStudio, work with native R environment</a:t>
            </a:r>
            <a:endParaRPr lang="en-US" sz="1200" dirty="0">
              <a:latin typeface="Helvetica Light" charset="0"/>
              <a:ea typeface="Helvetica Light" charset="0"/>
              <a:cs typeface="Helvetica Light" charset="0"/>
            </a:endParaRPr>
          </a:p>
          <a:p>
            <a:pPr lvl="1"/>
            <a:endParaRPr lang="en-US" sz="1200" dirty="0" smtClean="0">
              <a:latin typeface="Helvetica Light" charset="0"/>
              <a:ea typeface="Helvetica Light" charset="0"/>
              <a:cs typeface="Helvetica Light" charset="0"/>
            </a:endParaRPr>
          </a:p>
          <a:p>
            <a:r>
              <a:rPr lang="en-US" sz="1400" b="1" dirty="0" smtClean="0">
                <a:latin typeface="Helvetica Light" charset="0"/>
                <a:ea typeface="Helvetica Light" charset="0"/>
                <a:cs typeface="Helvetica Light" charset="0"/>
              </a:rPr>
              <a:t>Text Analytics</a:t>
            </a:r>
          </a:p>
          <a:p>
            <a:pPr lvl="1"/>
            <a:r>
              <a:rPr lang="en-US" sz="1200" dirty="0" smtClean="0">
                <a:latin typeface="Helvetica Light" charset="0"/>
                <a:ea typeface="Helvetica Light" charset="0"/>
                <a:cs typeface="Helvetica Light" charset="0"/>
              </a:rPr>
              <a:t>Extract information from unstructured data sources for business insight</a:t>
            </a:r>
          </a:p>
          <a:p>
            <a:pPr lvl="1"/>
            <a:r>
              <a:rPr lang="en-US" sz="1200" dirty="0" smtClean="0">
                <a:latin typeface="Helvetica Light" charset="0"/>
                <a:ea typeface="Helvetica Light" charset="0"/>
                <a:cs typeface="Helvetica Light" charset="0"/>
              </a:rPr>
              <a:t>Apply user-defined or pre-built rules for creation &amp; extraction of key data</a:t>
            </a:r>
          </a:p>
          <a:p>
            <a:pPr lvl="1"/>
            <a:r>
              <a:rPr lang="en-US" sz="1200" dirty="0" smtClean="0">
                <a:latin typeface="Helvetica Light" charset="0"/>
                <a:ea typeface="Helvetica Light" charset="0"/>
                <a:cs typeface="Helvetica Light" charset="0"/>
              </a:rPr>
              <a:t>Users do not need to know AQL: driven by graphical user interface (GUI)</a:t>
            </a:r>
            <a:endParaRPr lang="en-US" sz="1200" dirty="0">
              <a:latin typeface="Helvetica Light" charset="0"/>
              <a:ea typeface="Helvetica Light" charset="0"/>
              <a:cs typeface="Helvetica Light" charset="0"/>
            </a:endParaRPr>
          </a:p>
        </p:txBody>
      </p:sp>
      <p:grpSp>
        <p:nvGrpSpPr>
          <p:cNvPr id="4" name="Group 3"/>
          <p:cNvGrpSpPr/>
          <p:nvPr/>
        </p:nvGrpSpPr>
        <p:grpSpPr>
          <a:xfrm>
            <a:off x="492066" y="821531"/>
            <a:ext cx="8073711" cy="943395"/>
            <a:chOff x="853207" y="1692807"/>
            <a:chExt cx="7407965" cy="2459746"/>
          </a:xfrm>
        </p:grpSpPr>
        <p:sp>
          <p:nvSpPr>
            <p:cNvPr id="5" name="Rounded Rectangle 4"/>
            <p:cNvSpPr/>
            <p:nvPr/>
          </p:nvSpPr>
          <p:spPr>
            <a:xfrm>
              <a:off x="853207" y="1692807"/>
              <a:ext cx="7407965" cy="2459746"/>
            </a:xfrm>
            <a:prstGeom prst="roundRect">
              <a:avLst/>
            </a:prstGeom>
            <a:solidFill>
              <a:schemeClr val="bg1">
                <a:lumMod val="9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aphicFrame>
          <p:nvGraphicFramePr>
            <p:cNvPr id="6" name="Diagram 5"/>
            <p:cNvGraphicFramePr/>
            <p:nvPr>
              <p:extLst/>
            </p:nvPr>
          </p:nvGraphicFramePr>
          <p:xfrm>
            <a:off x="1101430" y="3001835"/>
            <a:ext cx="6907949" cy="10054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graphicFrame>
        <p:nvGraphicFramePr>
          <p:cNvPr id="7" name="Diagram 6"/>
          <p:cNvGraphicFramePr/>
          <p:nvPr>
            <p:extLst/>
          </p:nvPr>
        </p:nvGraphicFramePr>
        <p:xfrm>
          <a:off x="762596" y="1309780"/>
          <a:ext cx="7528759" cy="38561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8" name="Diagram 7"/>
          <p:cNvGraphicFramePr/>
          <p:nvPr>
            <p:extLst/>
          </p:nvPr>
        </p:nvGraphicFramePr>
        <p:xfrm>
          <a:off x="762594" y="879753"/>
          <a:ext cx="7528759" cy="38561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Tree>
    <p:extLst>
      <p:ext uri="{BB962C8B-B14F-4D97-AF65-F5344CB8AC3E}">
        <p14:creationId xmlns:p14="http://schemas.microsoft.com/office/powerpoint/2010/main" val="3157040182"/>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Hexagon 17"/>
          <p:cNvSpPr>
            <a:spLocks noChangeArrowheads="1"/>
          </p:cNvSpPr>
          <p:nvPr/>
        </p:nvSpPr>
        <p:spPr bwMode="auto">
          <a:xfrm>
            <a:off x="5997724" y="949156"/>
            <a:ext cx="670979" cy="595722"/>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sp>
        <p:nvSpPr>
          <p:cNvPr id="19457" name="Title 1"/>
          <p:cNvSpPr>
            <a:spLocks noGrp="1"/>
          </p:cNvSpPr>
          <p:nvPr>
            <p:ph type="title"/>
          </p:nvPr>
        </p:nvSpPr>
        <p:spPr>
          <a:xfrm>
            <a:off x="1060569" y="366543"/>
            <a:ext cx="8016755" cy="415529"/>
          </a:xfrm>
        </p:spPr>
        <p:txBody>
          <a:bodyPr/>
          <a:lstStyle/>
          <a:p>
            <a:pPr>
              <a:defRPr/>
            </a:pPr>
            <a:r>
              <a:rPr lang="en-US" sz="2400" b="1" dirty="0" smtClean="0">
                <a:ea typeface="+mj-ea"/>
              </a:rPr>
              <a:t>IBM Cloud Data Services—Managing data in the cloud</a:t>
            </a:r>
            <a:endParaRPr lang="en-US" sz="2400" b="1" dirty="0">
              <a:ea typeface="+mj-ea"/>
            </a:endParaRPr>
          </a:p>
        </p:txBody>
      </p:sp>
      <p:grpSp>
        <p:nvGrpSpPr>
          <p:cNvPr id="8214" name="Group 12"/>
          <p:cNvGrpSpPr>
            <a:grpSpLocks/>
          </p:cNvGrpSpPr>
          <p:nvPr/>
        </p:nvGrpSpPr>
        <p:grpSpPr bwMode="auto">
          <a:xfrm>
            <a:off x="7745905" y="917038"/>
            <a:ext cx="651698" cy="595722"/>
            <a:chOff x="6200274" y="2117558"/>
            <a:chExt cx="729916" cy="641684"/>
          </a:xfrm>
        </p:grpSpPr>
        <p:sp>
          <p:nvSpPr>
            <p:cNvPr id="7" name="Hexagon 6"/>
            <p:cNvSpPr>
              <a:spLocks noChangeArrowheads="1"/>
            </p:cNvSpPr>
            <p:nvPr/>
          </p:nvSpPr>
          <p:spPr bwMode="auto">
            <a:xfrm>
              <a:off x="6200274"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8223" name="Picture 2" descr="Cloudant NoSQL DB: Cloudant NoSQL DB provides access to a fully managed NoSQL JSON data layer that's always on. This service is compatible with CouchDB, and accessible through a simple to use HTTP interface for mobile and web application model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27107" y="2200275"/>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15" name="Group 14"/>
          <p:cNvGrpSpPr>
            <a:grpSpLocks/>
          </p:cNvGrpSpPr>
          <p:nvPr/>
        </p:nvGrpSpPr>
        <p:grpSpPr bwMode="auto">
          <a:xfrm>
            <a:off x="2727626" y="949156"/>
            <a:ext cx="635310" cy="595722"/>
            <a:chOff x="7916780" y="2117558"/>
            <a:chExt cx="729916" cy="641684"/>
          </a:xfrm>
        </p:grpSpPr>
        <p:sp>
          <p:nvSpPr>
            <p:cNvPr id="9" name="Hexagon 8"/>
            <p:cNvSpPr>
              <a:spLocks noChangeArrowheads="1"/>
            </p:cNvSpPr>
            <p:nvPr/>
          </p:nvSpPr>
          <p:spPr bwMode="auto">
            <a:xfrm>
              <a:off x="7916780"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8221" name="Picture 6" descr="dashDB: Store relational data, including special types such as geospatial data, and analyze it with SQL, R, and built-in predictive and geospatial analytics function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83719" y="2217821"/>
              <a:ext cx="410577" cy="4105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216" name="Group 13"/>
          <p:cNvGrpSpPr>
            <a:grpSpLocks/>
          </p:cNvGrpSpPr>
          <p:nvPr/>
        </p:nvGrpSpPr>
        <p:grpSpPr bwMode="auto">
          <a:xfrm>
            <a:off x="4354996" y="959653"/>
            <a:ext cx="670979" cy="595722"/>
            <a:chOff x="7058527" y="2117558"/>
            <a:chExt cx="729916" cy="641684"/>
          </a:xfrm>
        </p:grpSpPr>
        <p:sp>
          <p:nvSpPr>
            <p:cNvPr id="10" name="Hexagon 9"/>
            <p:cNvSpPr>
              <a:spLocks noChangeArrowheads="1"/>
            </p:cNvSpPr>
            <p:nvPr/>
          </p:nvSpPr>
          <p:spPr bwMode="auto">
            <a:xfrm>
              <a:off x="7058527" y="2117558"/>
              <a:ext cx="729916" cy="641684"/>
            </a:xfrm>
            <a:prstGeom prst="hexagon">
              <a:avLst>
                <a:gd name="adj" fmla="val 24999"/>
                <a:gd name="vf" fmla="val 115470"/>
              </a:avLst>
            </a:prstGeom>
            <a:solidFill>
              <a:srgbClr val="E6F6FD"/>
            </a:solidFill>
            <a:ln w="38100">
              <a:solidFill>
                <a:schemeClr val="bg1"/>
              </a:solidFill>
              <a:miter lim="800000"/>
              <a:headEnd/>
              <a:tailEnd/>
            </a:ln>
            <a:effectLst>
              <a:outerShdw blurRad="40000" dist="20000" dir="5400000" rotWithShape="0">
                <a:srgbClr val="808080">
                  <a:alpha val="37999"/>
                </a:srgbClr>
              </a:outerShdw>
            </a:effectLst>
          </p:spPr>
          <p:txBody>
            <a:bodyPr anchor="ctr"/>
            <a:lstStyle/>
            <a:p>
              <a:pPr algn="ctr" eaLnBrk="1" hangingPunct="1">
                <a:defRPr/>
              </a:pPr>
              <a:endParaRPr lang="en-US">
                <a:solidFill>
                  <a:schemeClr val="lt1"/>
                </a:solidFill>
                <a:latin typeface="+mn-lt"/>
                <a:ea typeface="+mn-ea"/>
              </a:endParaRPr>
            </a:p>
          </p:txBody>
        </p:sp>
        <p:pic>
          <p:nvPicPr>
            <p:cNvPr id="8219" name="Picture 4" descr="BigInsights for Hadoop: One or more bare metal IBM BigInsights for Hadoop clusters"/>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85360" y="2200275"/>
              <a:ext cx="47625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40942" y="912942"/>
            <a:ext cx="713289" cy="660278"/>
          </a:xfrm>
          <a:prstGeom prst="rect">
            <a:avLst/>
          </a:prstGeom>
        </p:spPr>
      </p:pic>
      <p:sp>
        <p:nvSpPr>
          <p:cNvPr id="15" name="Slide Number Placeholder 2"/>
          <p:cNvSpPr txBox="1">
            <a:spLocks/>
          </p:cNvSpPr>
          <p:nvPr/>
        </p:nvSpPr>
        <p:spPr>
          <a:xfrm>
            <a:off x="182563" y="4902995"/>
            <a:ext cx="366712" cy="138113"/>
          </a:xfrm>
          <a:prstGeom prst="rect">
            <a:avLst/>
          </a:prstGeom>
        </p:spPr>
        <p:txBody>
          <a:bodyPr/>
          <a:lstStyle>
            <a:defPPr>
              <a:defRPr lang="en-US"/>
            </a:defPPr>
            <a:lvl1pPr algn="l" rtl="0" eaLnBrk="0" fontAlgn="base" hangingPunct="0">
              <a:spcBef>
                <a:spcPct val="0"/>
              </a:spcBef>
              <a:spcAft>
                <a:spcPct val="0"/>
              </a:spcAft>
              <a:defRPr sz="2200" kern="1200">
                <a:solidFill>
                  <a:schemeClr val="hlink"/>
                </a:solidFill>
                <a:latin typeface="Arial" pitchFamily="34" charset="0"/>
                <a:ea typeface="ＭＳ Ｐゴシック" pitchFamily="34" charset="-128"/>
                <a:cs typeface="+mn-cs"/>
              </a:defRPr>
            </a:lvl1pPr>
            <a:lvl2pPr marL="457200" algn="l" rtl="0" eaLnBrk="0" fontAlgn="base" hangingPunct="0">
              <a:spcBef>
                <a:spcPct val="0"/>
              </a:spcBef>
              <a:spcAft>
                <a:spcPct val="0"/>
              </a:spcAft>
              <a:defRPr sz="2200" kern="1200">
                <a:solidFill>
                  <a:schemeClr val="hlink"/>
                </a:solidFill>
                <a:latin typeface="Arial" pitchFamily="34" charset="0"/>
                <a:ea typeface="ＭＳ Ｐゴシック" pitchFamily="34" charset="-128"/>
                <a:cs typeface="+mn-cs"/>
              </a:defRPr>
            </a:lvl2pPr>
            <a:lvl3pPr marL="914400" algn="l" rtl="0" eaLnBrk="0" fontAlgn="base" hangingPunct="0">
              <a:spcBef>
                <a:spcPct val="0"/>
              </a:spcBef>
              <a:spcAft>
                <a:spcPct val="0"/>
              </a:spcAft>
              <a:defRPr sz="2200" kern="1200">
                <a:solidFill>
                  <a:schemeClr val="hlink"/>
                </a:solidFill>
                <a:latin typeface="Arial" pitchFamily="34" charset="0"/>
                <a:ea typeface="ＭＳ Ｐゴシック" pitchFamily="34" charset="-128"/>
                <a:cs typeface="+mn-cs"/>
              </a:defRPr>
            </a:lvl3pPr>
            <a:lvl4pPr marL="1371600" algn="l" rtl="0" eaLnBrk="0" fontAlgn="base" hangingPunct="0">
              <a:spcBef>
                <a:spcPct val="0"/>
              </a:spcBef>
              <a:spcAft>
                <a:spcPct val="0"/>
              </a:spcAft>
              <a:defRPr sz="2200" kern="1200">
                <a:solidFill>
                  <a:schemeClr val="hlink"/>
                </a:solidFill>
                <a:latin typeface="Arial" pitchFamily="34" charset="0"/>
                <a:ea typeface="ＭＳ Ｐゴシック" pitchFamily="34" charset="-128"/>
                <a:cs typeface="+mn-cs"/>
              </a:defRPr>
            </a:lvl4pPr>
            <a:lvl5pPr marL="1828800" algn="l" rtl="0" eaLnBrk="0" fontAlgn="base" hangingPunct="0">
              <a:spcBef>
                <a:spcPct val="0"/>
              </a:spcBef>
              <a:spcAft>
                <a:spcPct val="0"/>
              </a:spcAft>
              <a:defRPr sz="2200" kern="1200">
                <a:solidFill>
                  <a:schemeClr val="hlink"/>
                </a:solidFill>
                <a:latin typeface="Arial" pitchFamily="34" charset="0"/>
                <a:ea typeface="ＭＳ Ｐゴシック" pitchFamily="34" charset="-128"/>
                <a:cs typeface="+mn-cs"/>
              </a:defRPr>
            </a:lvl5pPr>
            <a:lvl6pPr marL="2286000" algn="l" defTabSz="914400" rtl="0" eaLnBrk="1" latinLnBrk="0" hangingPunct="1">
              <a:defRPr sz="2200" kern="1200">
                <a:solidFill>
                  <a:schemeClr val="hlink"/>
                </a:solidFill>
                <a:latin typeface="Arial" pitchFamily="34" charset="0"/>
                <a:ea typeface="ＭＳ Ｐゴシック" pitchFamily="34" charset="-128"/>
                <a:cs typeface="+mn-cs"/>
              </a:defRPr>
            </a:lvl6pPr>
            <a:lvl7pPr marL="2743200" algn="l" defTabSz="914400" rtl="0" eaLnBrk="1" latinLnBrk="0" hangingPunct="1">
              <a:defRPr sz="2200" kern="1200">
                <a:solidFill>
                  <a:schemeClr val="hlink"/>
                </a:solidFill>
                <a:latin typeface="Arial" pitchFamily="34" charset="0"/>
                <a:ea typeface="ＭＳ Ｐゴシック" pitchFamily="34" charset="-128"/>
                <a:cs typeface="+mn-cs"/>
              </a:defRPr>
            </a:lvl7pPr>
            <a:lvl8pPr marL="3200400" algn="l" defTabSz="914400" rtl="0" eaLnBrk="1" latinLnBrk="0" hangingPunct="1">
              <a:defRPr sz="2200" kern="1200">
                <a:solidFill>
                  <a:schemeClr val="hlink"/>
                </a:solidFill>
                <a:latin typeface="Arial" pitchFamily="34" charset="0"/>
                <a:ea typeface="ＭＳ Ｐゴシック" pitchFamily="34" charset="-128"/>
                <a:cs typeface="+mn-cs"/>
              </a:defRPr>
            </a:lvl8pPr>
            <a:lvl9pPr marL="3657600" algn="l" defTabSz="914400" rtl="0" eaLnBrk="1" latinLnBrk="0" hangingPunct="1">
              <a:defRPr sz="2200" kern="1200">
                <a:solidFill>
                  <a:schemeClr val="hlink"/>
                </a:solidFill>
                <a:latin typeface="Arial" pitchFamily="34" charset="0"/>
                <a:ea typeface="ＭＳ Ｐゴシック" pitchFamily="34" charset="-128"/>
                <a:cs typeface="+mn-cs"/>
              </a:defRPr>
            </a:lvl9pPr>
          </a:lstStyle>
          <a:p>
            <a:pPr>
              <a:defRPr/>
            </a:pPr>
            <a:r>
              <a:rPr lang="en-US" altLang="en-US" sz="800" dirty="0" smtClean="0">
                <a:solidFill>
                  <a:schemeClr val="tx1"/>
                </a:solidFill>
              </a:rPr>
              <a:t>6</a:t>
            </a:r>
            <a:endParaRPr lang="en-US" altLang="en-US" sz="800" dirty="0">
              <a:solidFill>
                <a:schemeClr val="tx1"/>
              </a:solidFill>
            </a:endParaRPr>
          </a:p>
        </p:txBody>
      </p:sp>
      <p:pic>
        <p:nvPicPr>
          <p:cNvPr id="4" name="Picture 3"/>
          <p:cNvPicPr>
            <a:picLocks noChangeAspect="1"/>
          </p:cNvPicPr>
          <p:nvPr/>
        </p:nvPicPr>
        <p:blipFill>
          <a:blip r:embed="rId7"/>
          <a:stretch>
            <a:fillRect/>
          </a:stretch>
        </p:blipFill>
        <p:spPr>
          <a:xfrm>
            <a:off x="6102676" y="1007580"/>
            <a:ext cx="471003" cy="471003"/>
          </a:xfrm>
          <a:prstGeom prst="rect">
            <a:avLst/>
          </a:prstGeom>
        </p:spPr>
      </p:pic>
      <p:graphicFrame>
        <p:nvGraphicFramePr>
          <p:cNvPr id="17" name="Table 16"/>
          <p:cNvGraphicFramePr>
            <a:graphicFrameLocks noGrp="1"/>
          </p:cNvGraphicFramePr>
          <p:nvPr>
            <p:extLst>
              <p:ext uri="{D42A27DB-BD31-4B8C-83A1-F6EECF244321}">
                <p14:modId xmlns:p14="http://schemas.microsoft.com/office/powerpoint/2010/main" val="1856286694"/>
              </p:ext>
            </p:extLst>
          </p:nvPr>
        </p:nvGraphicFramePr>
        <p:xfrm>
          <a:off x="549277" y="1640488"/>
          <a:ext cx="8255455" cy="3296612"/>
        </p:xfrm>
        <a:graphic>
          <a:graphicData uri="http://schemas.openxmlformats.org/drawingml/2006/table">
            <a:tbl>
              <a:tblPr firstRow="1" bandRow="1">
                <a:tableStyleId>{5C22544A-7EE6-4342-B048-85BDC9FD1C3A}</a:tableStyleId>
              </a:tblPr>
              <a:tblGrid>
                <a:gridCol w="1651091"/>
                <a:gridCol w="1651091"/>
                <a:gridCol w="1651091"/>
                <a:gridCol w="1651091"/>
                <a:gridCol w="1651091"/>
              </a:tblGrid>
              <a:tr h="461197">
                <a:tc>
                  <a:txBody>
                    <a:bodyPr/>
                    <a:lstStyle/>
                    <a:p>
                      <a:pPr algn="ctr"/>
                      <a:r>
                        <a:rPr lang="en-US" sz="1400" baseline="0" dirty="0" smtClean="0">
                          <a:solidFill>
                            <a:schemeClr val="tx1"/>
                          </a:solidFill>
                        </a:rPr>
                        <a:t>DB2 on Cloud</a:t>
                      </a:r>
                      <a:endParaRPr lang="en-US" sz="1400" baseline="0" dirty="0">
                        <a:solidFill>
                          <a:schemeClr val="tx1"/>
                        </a:solidFill>
                      </a:endParaRPr>
                    </a:p>
                  </a:txBody>
                  <a:tcPr marL="68580" marR="68580" marT="34291" marB="34291" anchor="ctr">
                    <a:solidFill>
                      <a:srgbClr val="008ABF"/>
                    </a:solidFill>
                  </a:tcPr>
                </a:tc>
                <a:tc>
                  <a:txBody>
                    <a:bodyPr/>
                    <a:lstStyle/>
                    <a:p>
                      <a:pPr algn="ctr"/>
                      <a:r>
                        <a:rPr lang="en-US" sz="1400" baseline="0" dirty="0" smtClean="0">
                          <a:solidFill>
                            <a:schemeClr val="tx1"/>
                          </a:solidFill>
                        </a:rPr>
                        <a:t>dashDB</a:t>
                      </a:r>
                      <a:endParaRPr lang="en-US" sz="1400" baseline="0" dirty="0">
                        <a:solidFill>
                          <a:schemeClr val="tx1"/>
                        </a:solidFill>
                      </a:endParaRPr>
                    </a:p>
                  </a:txBody>
                  <a:tcPr marL="68580" marR="68580" marT="34291" marB="34291" anchor="ctr">
                    <a:solidFill>
                      <a:srgbClr val="008ABF"/>
                    </a:solidFill>
                  </a:tcPr>
                </a:tc>
                <a:tc>
                  <a:txBody>
                    <a:bodyPr/>
                    <a:lstStyle/>
                    <a:p>
                      <a:pPr algn="ctr"/>
                      <a:r>
                        <a:rPr lang="en-US" sz="1400" baseline="0" dirty="0" smtClean="0">
                          <a:solidFill>
                            <a:schemeClr val="tx1"/>
                          </a:solidFill>
                        </a:rPr>
                        <a:t>BigInsights on Cloud</a:t>
                      </a:r>
                      <a:endParaRPr lang="en-US" sz="1400" baseline="0" dirty="0">
                        <a:solidFill>
                          <a:schemeClr val="tx1"/>
                        </a:solidFill>
                      </a:endParaRPr>
                    </a:p>
                  </a:txBody>
                  <a:tcPr marL="68580" marR="68580" marT="34291" marB="34291" anchor="ctr">
                    <a:solidFill>
                      <a:srgbClr val="008ABF"/>
                    </a:solidFill>
                  </a:tcPr>
                </a:tc>
                <a:tc>
                  <a:txBody>
                    <a:bodyPr/>
                    <a:lstStyle/>
                    <a:p>
                      <a:pPr algn="ctr"/>
                      <a:r>
                        <a:rPr lang="en-US" sz="1400" baseline="0" dirty="0" smtClean="0">
                          <a:solidFill>
                            <a:schemeClr val="tx1"/>
                          </a:solidFill>
                        </a:rPr>
                        <a:t>Spark as a Service</a:t>
                      </a:r>
                      <a:endParaRPr lang="en-US" sz="1400" baseline="0" dirty="0">
                        <a:solidFill>
                          <a:schemeClr val="tx1"/>
                        </a:solidFill>
                      </a:endParaRPr>
                    </a:p>
                  </a:txBody>
                  <a:tcPr marL="68580" marR="68580" marT="34291" marB="34291" anchor="ctr">
                    <a:solidFill>
                      <a:srgbClr val="008ABF"/>
                    </a:solidFill>
                  </a:tcPr>
                </a:tc>
                <a:tc>
                  <a:txBody>
                    <a:bodyPr/>
                    <a:lstStyle/>
                    <a:p>
                      <a:pPr algn="ctr"/>
                      <a:r>
                        <a:rPr lang="en-US" sz="1400" baseline="0" dirty="0" smtClean="0">
                          <a:solidFill>
                            <a:schemeClr val="tx1"/>
                          </a:solidFill>
                        </a:rPr>
                        <a:t>Cloudant</a:t>
                      </a:r>
                      <a:endParaRPr lang="en-US" sz="1400" baseline="0" dirty="0">
                        <a:solidFill>
                          <a:schemeClr val="tx1"/>
                        </a:solidFill>
                      </a:endParaRPr>
                    </a:p>
                  </a:txBody>
                  <a:tcPr marL="68580" marR="68580" marT="34291" marB="34291" anchor="ctr">
                    <a:solidFill>
                      <a:srgbClr val="008ABF"/>
                    </a:solidFill>
                  </a:tcPr>
                </a:tc>
              </a:tr>
              <a:tr h="413025">
                <a:tc>
                  <a:txBody>
                    <a:bodyPr/>
                    <a:lstStyle/>
                    <a:p>
                      <a:pPr algn="ctr"/>
                      <a:r>
                        <a:rPr lang="en-US" sz="1100" b="1" i="1" dirty="0" smtClean="0"/>
                        <a:t>Hosted Database in the Cloud</a:t>
                      </a:r>
                      <a:endParaRPr lang="en-US" sz="1100" b="1" i="1" dirty="0"/>
                    </a:p>
                  </a:txBody>
                  <a:tcPr marL="68580" marR="68580" marT="34291" marB="34291" anchor="ctr"/>
                </a:tc>
                <a:tc>
                  <a:txBody>
                    <a:bodyPr/>
                    <a:lstStyle/>
                    <a:p>
                      <a:pPr algn="ctr"/>
                      <a:r>
                        <a:rPr lang="en-US" sz="1100" b="1" i="1" dirty="0" smtClean="0"/>
                        <a:t>Analytic</a:t>
                      </a:r>
                      <a:r>
                        <a:rPr lang="en-US" sz="1100" b="1" i="1" baseline="0" dirty="0" smtClean="0"/>
                        <a:t> Data Warehouse</a:t>
                      </a:r>
                      <a:endParaRPr lang="en-US" sz="1100" b="1" i="1" dirty="0"/>
                    </a:p>
                  </a:txBody>
                  <a:tcPr marL="68580" marR="68580" marT="34291" marB="34291" anchor="ctr"/>
                </a:tc>
                <a:tc>
                  <a:txBody>
                    <a:bodyPr/>
                    <a:lstStyle/>
                    <a:p>
                      <a:pPr algn="ctr"/>
                      <a:r>
                        <a:rPr lang="en-US" sz="1100" b="1" i="1" dirty="0" smtClean="0"/>
                        <a:t>Hadoop in the Cloud</a:t>
                      </a:r>
                      <a:endParaRPr lang="en-US" sz="1100" b="1" i="1" dirty="0"/>
                    </a:p>
                  </a:txBody>
                  <a:tcPr marL="68580" marR="68580" marT="34291" marB="34291" anchor="ctr"/>
                </a:tc>
                <a:tc>
                  <a:txBody>
                    <a:bodyPr/>
                    <a:lstStyle/>
                    <a:p>
                      <a:pPr algn="ctr"/>
                      <a:r>
                        <a:rPr lang="en-US" sz="1100" b="1" i="1" dirty="0" smtClean="0"/>
                        <a:t>Fully-managed</a:t>
                      </a:r>
                      <a:r>
                        <a:rPr lang="en-US" sz="1100" b="1" i="1" baseline="0" dirty="0" smtClean="0"/>
                        <a:t> Spark Service</a:t>
                      </a:r>
                      <a:endParaRPr lang="en-US" sz="1100" b="1" i="1" dirty="0"/>
                    </a:p>
                  </a:txBody>
                  <a:tcPr marL="68580" marR="68580" marT="34291" marB="34291"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100" b="1" i="1" dirty="0" smtClean="0"/>
                        <a:t>NoSQL DBaaS</a:t>
                      </a:r>
                      <a:endParaRPr lang="en-US" sz="1100" b="1" i="1" dirty="0"/>
                    </a:p>
                  </a:txBody>
                  <a:tcPr marL="68580" marR="68580" marT="34291" marB="34291" anchor="ctr"/>
                </a:tc>
              </a:tr>
              <a:tr h="2388285">
                <a:tc>
                  <a:txBody>
                    <a:bodyPr/>
                    <a:lstStyle/>
                    <a:p>
                      <a:pPr marL="171450" indent="-171450" algn="l">
                        <a:lnSpc>
                          <a:spcPct val="120000"/>
                        </a:lnSpc>
                        <a:buFont typeface="Arial"/>
                        <a:buChar char="•"/>
                      </a:pPr>
                      <a:r>
                        <a:rPr lang="en-US" sz="1050" dirty="0" smtClean="0"/>
                        <a:t>Power</a:t>
                      </a:r>
                      <a:r>
                        <a:rPr lang="en-US" sz="1050" baseline="0" dirty="0" smtClean="0"/>
                        <a:t> of DB2</a:t>
                      </a:r>
                    </a:p>
                    <a:p>
                      <a:pPr marL="171450" indent="-171450" algn="l">
                        <a:lnSpc>
                          <a:spcPct val="120000"/>
                        </a:lnSpc>
                        <a:buFont typeface="Arial"/>
                        <a:buChar char="•"/>
                      </a:pPr>
                      <a:r>
                        <a:rPr lang="en-US" sz="1050" baseline="0" dirty="0" smtClean="0"/>
                        <a:t>Fast Provisioning</a:t>
                      </a:r>
                    </a:p>
                    <a:p>
                      <a:pPr marL="171450" indent="-171450" algn="l">
                        <a:lnSpc>
                          <a:spcPct val="120000"/>
                        </a:lnSpc>
                        <a:buFont typeface="Arial"/>
                        <a:buChar char="•"/>
                      </a:pPr>
                      <a:r>
                        <a:rPr lang="en-US" sz="1050" baseline="0" dirty="0" smtClean="0"/>
                        <a:t>Flexible pricing</a:t>
                      </a:r>
                    </a:p>
                    <a:p>
                      <a:pPr marL="171450" indent="-171450" algn="l">
                        <a:lnSpc>
                          <a:spcPct val="120000"/>
                        </a:lnSpc>
                        <a:buFont typeface="Arial"/>
                        <a:buChar char="•"/>
                      </a:pPr>
                      <a:r>
                        <a:rPr lang="en-US" sz="1050" baseline="0" dirty="0" smtClean="0"/>
                        <a:t>No loss of DBA control</a:t>
                      </a:r>
                    </a:p>
                    <a:p>
                      <a:pPr marL="171450" indent="-171450" algn="l">
                        <a:lnSpc>
                          <a:spcPct val="120000"/>
                        </a:lnSpc>
                        <a:buFont typeface="Arial"/>
                        <a:buChar char="•"/>
                      </a:pPr>
                      <a:r>
                        <a:rPr lang="en-US" sz="1050" baseline="0" dirty="0" smtClean="0"/>
                        <a:t>Built for Systems of Record</a:t>
                      </a:r>
                      <a:endParaRPr lang="en-US" sz="1050" dirty="0" smtClean="0"/>
                    </a:p>
                  </a:txBody>
                  <a:tcPr marL="68580" marR="68580" marT="34291" marB="34291"/>
                </a:tc>
                <a:tc>
                  <a:txBody>
                    <a:bodyPr/>
                    <a:lstStyle/>
                    <a:p>
                      <a:pPr marL="171450" indent="-171450" algn="l">
                        <a:lnSpc>
                          <a:spcPct val="120000"/>
                        </a:lnSpc>
                        <a:buFont typeface="Arial"/>
                        <a:buChar char="•"/>
                      </a:pPr>
                      <a:r>
                        <a:rPr lang="en-US" sz="1050" dirty="0" smtClean="0"/>
                        <a:t>SQL interface</a:t>
                      </a:r>
                    </a:p>
                    <a:p>
                      <a:pPr marL="171450" indent="-171450" algn="l">
                        <a:lnSpc>
                          <a:spcPct val="120000"/>
                        </a:lnSpc>
                        <a:buFont typeface="Arial"/>
                        <a:buChar char="•"/>
                      </a:pPr>
                      <a:r>
                        <a:rPr lang="en-US" sz="1050" dirty="0" smtClean="0"/>
                        <a:t>Massively parallel</a:t>
                      </a:r>
                    </a:p>
                    <a:p>
                      <a:pPr marL="171450" indent="-171450" algn="l">
                        <a:lnSpc>
                          <a:spcPct val="120000"/>
                        </a:lnSpc>
                        <a:buFont typeface="Arial"/>
                        <a:buChar char="•"/>
                      </a:pPr>
                      <a:r>
                        <a:rPr lang="en-US" sz="1050" dirty="0" smtClean="0"/>
                        <a:t>ACID compliance</a:t>
                      </a:r>
                    </a:p>
                    <a:p>
                      <a:pPr marL="171450" indent="-171450" algn="l">
                        <a:lnSpc>
                          <a:spcPct val="120000"/>
                        </a:lnSpc>
                        <a:buFont typeface="Arial"/>
                        <a:buChar char="•"/>
                      </a:pPr>
                      <a:r>
                        <a:rPr lang="en-US" sz="1050" dirty="0" smtClean="0"/>
                        <a:t>Columnar, in-memory performance</a:t>
                      </a:r>
                    </a:p>
                    <a:p>
                      <a:pPr marL="171450" indent="-171450" algn="l">
                        <a:lnSpc>
                          <a:spcPct val="120000"/>
                        </a:lnSpc>
                        <a:buFont typeface="Arial"/>
                        <a:buChar char="•"/>
                      </a:pPr>
                      <a:r>
                        <a:rPr lang="en-US" sz="1050" dirty="0" smtClean="0"/>
                        <a:t>BLU augmented with NZ in-DB analytics</a:t>
                      </a:r>
                    </a:p>
                    <a:p>
                      <a:pPr marL="171450" indent="-171450" algn="l">
                        <a:lnSpc>
                          <a:spcPct val="120000"/>
                        </a:lnSpc>
                        <a:buFont typeface="Arial"/>
                        <a:buChar char="•"/>
                      </a:pPr>
                      <a:r>
                        <a:rPr lang="en-US" sz="1050" dirty="0" smtClean="0"/>
                        <a:t>Built for Systems of Insight</a:t>
                      </a:r>
                    </a:p>
                  </a:txBody>
                  <a:tcPr marL="68580" marR="68580" marT="34291" marB="34291"/>
                </a:tc>
                <a:tc>
                  <a:txBody>
                    <a:bodyPr/>
                    <a:lstStyle/>
                    <a:p>
                      <a:pPr marL="171450" indent="-171450" algn="l">
                        <a:lnSpc>
                          <a:spcPct val="120000"/>
                        </a:lnSpc>
                        <a:buFont typeface="Arial"/>
                        <a:buChar char="•"/>
                      </a:pPr>
                      <a:r>
                        <a:rPr lang="en-US" sz="1050" dirty="0" smtClean="0"/>
                        <a:t>Bare metal performance</a:t>
                      </a:r>
                    </a:p>
                    <a:p>
                      <a:pPr marL="171450" indent="-171450" algn="l">
                        <a:lnSpc>
                          <a:spcPct val="120000"/>
                        </a:lnSpc>
                        <a:buFont typeface="Arial"/>
                        <a:buChar char="•"/>
                      </a:pPr>
                      <a:r>
                        <a:rPr lang="en-US" sz="1050" dirty="0" smtClean="0"/>
                        <a:t>Build on reference architecture</a:t>
                      </a:r>
                    </a:p>
                    <a:p>
                      <a:pPr marL="171450" indent="-171450" algn="l">
                        <a:lnSpc>
                          <a:spcPct val="120000"/>
                        </a:lnSpc>
                        <a:buFont typeface="Arial"/>
                        <a:buChar char="•"/>
                      </a:pPr>
                      <a:r>
                        <a:rPr lang="en-US" sz="1050" dirty="0" err="1" smtClean="0"/>
                        <a:t>BigInsights</a:t>
                      </a:r>
                      <a:r>
                        <a:rPr lang="en-US" sz="1050" dirty="0" smtClean="0"/>
                        <a:t> enterprise features</a:t>
                      </a:r>
                    </a:p>
                  </a:txBody>
                  <a:tcPr marL="68580" marR="68580" marT="34291" marB="34291"/>
                </a:tc>
                <a:tc>
                  <a:txBody>
                    <a:bodyPr/>
                    <a:lstStyle/>
                    <a:p>
                      <a:pPr marL="171450" indent="-171450" algn="l">
                        <a:lnSpc>
                          <a:spcPct val="120000"/>
                        </a:lnSpc>
                        <a:buFont typeface="Arial"/>
                        <a:buChar char="•"/>
                      </a:pPr>
                      <a:r>
                        <a:rPr lang="en-US" sz="1050" baseline="0" dirty="0" smtClean="0"/>
                        <a:t>Optimized for extremely fast and large scale data processing</a:t>
                      </a:r>
                    </a:p>
                    <a:p>
                      <a:pPr marL="171450" indent="-171450" algn="l">
                        <a:lnSpc>
                          <a:spcPct val="120000"/>
                        </a:lnSpc>
                        <a:buFont typeface="Arial"/>
                        <a:buChar char="•"/>
                      </a:pPr>
                      <a:r>
                        <a:rPr lang="en-US" sz="1050" baseline="0" dirty="0" smtClean="0"/>
                        <a:t>Spark SQL, Streaming, </a:t>
                      </a:r>
                      <a:r>
                        <a:rPr lang="en-US" sz="1050" baseline="0" dirty="0" err="1" smtClean="0"/>
                        <a:t>MLlib</a:t>
                      </a:r>
                      <a:r>
                        <a:rPr lang="en-US" sz="1050" baseline="0" dirty="0" smtClean="0"/>
                        <a:t>, </a:t>
                      </a:r>
                      <a:r>
                        <a:rPr lang="en-US" sz="1050" baseline="0" dirty="0" err="1" smtClean="0"/>
                        <a:t>GraphX</a:t>
                      </a:r>
                      <a:endParaRPr lang="en-US" sz="1050" baseline="0" dirty="0" smtClean="0"/>
                    </a:p>
                    <a:p>
                      <a:pPr marL="171450" indent="-171450" algn="l">
                        <a:lnSpc>
                          <a:spcPct val="120000"/>
                        </a:lnSpc>
                        <a:buFont typeface="Arial"/>
                        <a:buChar char="•"/>
                      </a:pPr>
                      <a:r>
                        <a:rPr lang="en-US" sz="1050" baseline="0" dirty="0" smtClean="0"/>
                        <a:t>Build and run apps benefiting  from operational, maintenance and hardware excellence</a:t>
                      </a:r>
                      <a:endParaRPr lang="en-US" sz="1050" dirty="0" smtClean="0"/>
                    </a:p>
                  </a:txBody>
                  <a:tcPr marL="68580" marR="68580" marT="34291" marB="34291"/>
                </a:tc>
                <a:tc>
                  <a:txBody>
                    <a:bodyPr/>
                    <a:lstStyle/>
                    <a:p>
                      <a:pPr marL="171450" marR="0" indent="-171450" algn="l" defTabSz="457200" rtl="0" eaLnBrk="1" fontAlgn="auto" latinLnBrk="0" hangingPunct="1">
                        <a:lnSpc>
                          <a:spcPct val="120000"/>
                        </a:lnSpc>
                        <a:spcBef>
                          <a:spcPts val="0"/>
                        </a:spcBef>
                        <a:spcAft>
                          <a:spcPts val="0"/>
                        </a:spcAft>
                        <a:buClrTx/>
                        <a:buSzTx/>
                        <a:buFont typeface="Arial"/>
                        <a:buChar char="•"/>
                        <a:tabLst/>
                        <a:defRPr/>
                      </a:pPr>
                      <a:r>
                        <a:rPr lang="en-US" sz="1050" kern="1200" dirty="0" smtClean="0">
                          <a:solidFill>
                            <a:schemeClr val="dk1"/>
                          </a:solidFill>
                          <a:latin typeface="+mn-lt"/>
                          <a:ea typeface="+mn-ea"/>
                          <a:cs typeface="+mn-cs"/>
                        </a:rPr>
                        <a:t>Global data distribution</a:t>
                      </a:r>
                    </a:p>
                    <a:p>
                      <a:pPr marL="171450" marR="0" indent="-171450" algn="l" defTabSz="457200" rtl="0" eaLnBrk="1" fontAlgn="auto" latinLnBrk="0" hangingPunct="1">
                        <a:lnSpc>
                          <a:spcPct val="120000"/>
                        </a:lnSpc>
                        <a:spcBef>
                          <a:spcPts val="0"/>
                        </a:spcBef>
                        <a:spcAft>
                          <a:spcPts val="0"/>
                        </a:spcAft>
                        <a:buClrTx/>
                        <a:buSzTx/>
                        <a:buFont typeface="Arial"/>
                        <a:buChar char="•"/>
                        <a:tabLst/>
                        <a:defRPr/>
                      </a:pPr>
                      <a:r>
                        <a:rPr lang="en-US" sz="1050" kern="1200" dirty="0" smtClean="0">
                          <a:solidFill>
                            <a:schemeClr val="dk1"/>
                          </a:solidFill>
                          <a:latin typeface="+mn-lt"/>
                          <a:ea typeface="+mn-ea"/>
                          <a:cs typeface="+mn-cs"/>
                        </a:rPr>
                        <a:t>Massively scalable</a:t>
                      </a:r>
                    </a:p>
                    <a:p>
                      <a:pPr marL="171450" marR="0" indent="-171450" algn="l" defTabSz="457200" rtl="0" eaLnBrk="1" fontAlgn="auto" latinLnBrk="0" hangingPunct="1">
                        <a:lnSpc>
                          <a:spcPct val="120000"/>
                        </a:lnSpc>
                        <a:spcBef>
                          <a:spcPts val="0"/>
                        </a:spcBef>
                        <a:spcAft>
                          <a:spcPts val="0"/>
                        </a:spcAft>
                        <a:buClrTx/>
                        <a:buSzTx/>
                        <a:buFont typeface="Arial"/>
                        <a:buChar char="•"/>
                        <a:tabLst/>
                        <a:defRPr/>
                      </a:pPr>
                      <a:r>
                        <a:rPr lang="en-US" sz="1050" kern="1200" dirty="0" smtClean="0">
                          <a:solidFill>
                            <a:schemeClr val="dk1"/>
                          </a:solidFill>
                          <a:latin typeface="+mn-lt"/>
                          <a:ea typeface="+mn-ea"/>
                          <a:cs typeface="+mn-cs"/>
                        </a:rPr>
                        <a:t>Eventually consistent data model</a:t>
                      </a:r>
                    </a:p>
                    <a:p>
                      <a:pPr marL="171450" marR="0" indent="-171450" algn="l" defTabSz="457200" rtl="0" eaLnBrk="1" fontAlgn="auto" latinLnBrk="0" hangingPunct="1">
                        <a:lnSpc>
                          <a:spcPct val="120000"/>
                        </a:lnSpc>
                        <a:spcBef>
                          <a:spcPts val="0"/>
                        </a:spcBef>
                        <a:spcAft>
                          <a:spcPts val="0"/>
                        </a:spcAft>
                        <a:buClrTx/>
                        <a:buSzTx/>
                        <a:buFont typeface="Arial"/>
                        <a:buChar char="•"/>
                        <a:tabLst/>
                        <a:defRPr/>
                      </a:pPr>
                      <a:r>
                        <a:rPr lang="en-US" sz="1050" kern="1200" dirty="0" smtClean="0">
                          <a:solidFill>
                            <a:schemeClr val="dk1"/>
                          </a:solidFill>
                          <a:latin typeface="+mn-lt"/>
                          <a:ea typeface="+mn-ea"/>
                          <a:cs typeface="+mn-cs"/>
                        </a:rPr>
                        <a:t>Built for mobile, Systems of Engagement</a:t>
                      </a:r>
                    </a:p>
                  </a:txBody>
                  <a:tcPr marL="68580" marR="68580" marT="34291" marB="34291"/>
                </a:tc>
              </a:tr>
            </a:tbl>
          </a:graphicData>
        </a:graphic>
      </p:graphicFrame>
    </p:spTree>
    <p:extLst>
      <p:ext uri="{BB962C8B-B14F-4D97-AF65-F5344CB8AC3E}">
        <p14:creationId xmlns:p14="http://schemas.microsoft.com/office/powerpoint/2010/main" val="2973114590"/>
      </p:ext>
    </p:extLst>
  </p:cSld>
  <p:clrMapOvr>
    <a:masterClrMapping/>
  </p:clrMapOvr>
  <p:transition spd="med"/>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adoop</a:t>
            </a:r>
            <a:r>
              <a:rPr lang="en-US" dirty="0" smtClean="0"/>
              <a:t> Advantages</a:t>
            </a:r>
            <a:endParaRPr lang="en-US" dirty="0"/>
          </a:p>
        </p:txBody>
      </p:sp>
      <p:pic>
        <p:nvPicPr>
          <p:cNvPr id="11" name="Picture 10"/>
          <p:cNvPicPr>
            <a:picLocks noChangeAspect="1"/>
          </p:cNvPicPr>
          <p:nvPr/>
        </p:nvPicPr>
        <p:blipFill>
          <a:blip r:embed="rId2"/>
          <a:stretch>
            <a:fillRect/>
          </a:stretch>
        </p:blipFill>
        <p:spPr>
          <a:xfrm>
            <a:off x="1060570" y="966885"/>
            <a:ext cx="6012298" cy="4125076"/>
          </a:xfrm>
          <a:prstGeom prst="rect">
            <a:avLst/>
          </a:prstGeom>
        </p:spPr>
      </p:pic>
    </p:spTree>
    <p:extLst>
      <p:ext uri="{BB962C8B-B14F-4D97-AF65-F5344CB8AC3E}">
        <p14:creationId xmlns:p14="http://schemas.microsoft.com/office/powerpoint/2010/main" val="209279592"/>
      </p:ext>
    </p:extLst>
  </p:cSld>
  <p:clrMapOvr>
    <a:masterClrMapping/>
  </p:clrMapOvr>
  <p:transition spd="med"/>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Hadoop</a:t>
            </a:r>
            <a:r>
              <a:rPr lang="en-US" dirty="0" smtClean="0"/>
              <a:t> </a:t>
            </a:r>
            <a:r>
              <a:rPr lang="en-US" dirty="0" err="1" smtClean="0"/>
              <a:t>MapReduce</a:t>
            </a:r>
            <a:r>
              <a:rPr lang="en-US" dirty="0" smtClean="0"/>
              <a:t> Challenges</a:t>
            </a:r>
            <a:endParaRPr lang="en-US" dirty="0"/>
          </a:p>
        </p:txBody>
      </p:sp>
      <p:pic>
        <p:nvPicPr>
          <p:cNvPr id="4" name="Picture 3"/>
          <p:cNvPicPr>
            <a:picLocks noChangeAspect="1"/>
          </p:cNvPicPr>
          <p:nvPr/>
        </p:nvPicPr>
        <p:blipFill>
          <a:blip r:embed="rId2"/>
          <a:stretch>
            <a:fillRect/>
          </a:stretch>
        </p:blipFill>
        <p:spPr>
          <a:xfrm>
            <a:off x="1060570" y="928497"/>
            <a:ext cx="5924709" cy="4089895"/>
          </a:xfrm>
          <a:prstGeom prst="rect">
            <a:avLst/>
          </a:prstGeom>
        </p:spPr>
      </p:pic>
    </p:spTree>
    <p:extLst>
      <p:ext uri="{BB962C8B-B14F-4D97-AF65-F5344CB8AC3E}">
        <p14:creationId xmlns:p14="http://schemas.microsoft.com/office/powerpoint/2010/main" val="1932399365"/>
      </p:ext>
    </p:extLst>
  </p:cSld>
  <p:clrMapOvr>
    <a:masterClrMapping/>
  </p:clrMapOvr>
  <p:transition spd="med"/>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25"/>
          <p:cNvSpPr/>
          <p:nvPr/>
        </p:nvSpPr>
        <p:spPr>
          <a:xfrm>
            <a:off x="279946" y="1995964"/>
            <a:ext cx="6873475" cy="5416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a:lnSpc>
                <a:spcPct val="80000"/>
              </a:lnSpc>
            </a:pPr>
            <a:r>
              <a:rPr lang="en-US" sz="4400" b="1" dirty="0" smtClean="0">
                <a:solidFill>
                  <a:srgbClr val="FFFFFF"/>
                </a:solidFill>
              </a:rPr>
              <a:t>Spark as a Service</a:t>
            </a:r>
            <a:endParaRPr sz="4400" b="1" dirty="0">
              <a:solidFill>
                <a:srgbClr val="FFFFFF"/>
              </a:solidFill>
            </a:endParaRPr>
          </a:p>
        </p:txBody>
      </p:sp>
      <p:sp>
        <p:nvSpPr>
          <p:cNvPr id="8" name="Shape 26"/>
          <p:cNvSpPr/>
          <p:nvPr/>
        </p:nvSpPr>
        <p:spPr>
          <a:xfrm>
            <a:off x="279946" y="1527061"/>
            <a:ext cx="4474409" cy="36933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a:defRPr sz="1800" spc="0">
                <a:solidFill>
                  <a:srgbClr val="000000"/>
                </a:solidFill>
              </a:defRPr>
            </a:pPr>
            <a:r>
              <a:rPr lang="en-US" sz="2400" dirty="0" smtClean="0"/>
              <a:t>IBM Cloud Data Services</a:t>
            </a:r>
            <a:endParaRPr sz="2400" dirty="0"/>
          </a:p>
        </p:txBody>
      </p:sp>
      <p:pic>
        <p:nvPicPr>
          <p:cNvPr id="37894" name="Picture 6" descr="http://snowplowanalytics.com/assets/img/blog/2015/05/spark_logo.png"/>
          <p:cNvPicPr>
            <a:picLocks noChangeAspect="1" noChangeArrowheads="1"/>
          </p:cNvPicPr>
          <p:nvPr/>
        </p:nvPicPr>
        <p:blipFill>
          <a:blip r:embed="rId2"/>
          <a:srcRect/>
          <a:stretch>
            <a:fillRect/>
          </a:stretch>
        </p:blipFill>
        <p:spPr bwMode="auto">
          <a:xfrm>
            <a:off x="6998503" y="280753"/>
            <a:ext cx="2014869" cy="1048956"/>
          </a:xfrm>
          <a:prstGeom prst="rect">
            <a:avLst/>
          </a:prstGeom>
          <a:noFill/>
          <a:effectLst>
            <a:outerShdw blurRad="50800" dist="38100" dir="2700000" algn="tl" rotWithShape="0">
              <a:schemeClr val="bg1">
                <a:alpha val="40000"/>
              </a:schemeClr>
            </a:outerShdw>
          </a:effectLst>
        </p:spPr>
      </p:pic>
      <p:sp>
        <p:nvSpPr>
          <p:cNvPr id="9" name="Shape 26"/>
          <p:cNvSpPr/>
          <p:nvPr/>
        </p:nvSpPr>
        <p:spPr>
          <a:xfrm>
            <a:off x="279948" y="4096051"/>
            <a:ext cx="6823760" cy="43088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lvl1pPr>
              <a:defRPr sz="2200" spc="44">
                <a:solidFill>
                  <a:srgbClr val="CEE8F9"/>
                </a:solidFill>
              </a:defRPr>
            </a:lvl1pPr>
          </a:lstStyle>
          <a:p>
            <a:pPr>
              <a:defRPr sz="1800" spc="0">
                <a:solidFill>
                  <a:srgbClr val="000000"/>
                </a:solidFill>
              </a:defRPr>
            </a:pPr>
            <a:r>
              <a:rPr lang="en-US" sz="1400" b="1" dirty="0" smtClean="0">
                <a:solidFill>
                  <a:srgbClr val="D6EFFB"/>
                </a:solidFill>
              </a:rPr>
              <a:t>Suraj Pandey</a:t>
            </a:r>
          </a:p>
          <a:p>
            <a:pPr>
              <a:defRPr sz="1800" spc="0">
                <a:solidFill>
                  <a:srgbClr val="000000"/>
                </a:solidFill>
              </a:defRPr>
            </a:pPr>
            <a:r>
              <a:rPr lang="en-US" sz="1400" dirty="0" smtClean="0">
                <a:solidFill>
                  <a:srgbClr val="D6EFFB"/>
                </a:solidFill>
              </a:rPr>
              <a:t>Cloud Data Services Technical Lead, </a:t>
            </a:r>
            <a:r>
              <a:rPr lang="en-US" sz="1400" spc="0" dirty="0" smtClean="0">
                <a:solidFill>
                  <a:srgbClr val="D6EFFB"/>
                </a:solidFill>
              </a:rPr>
              <a:t>Australia and New Zealand</a:t>
            </a:r>
            <a:endParaRPr sz="1400" dirty="0">
              <a:solidFill>
                <a:srgbClr val="D6EFFB"/>
              </a:solidFill>
            </a:endParaRPr>
          </a:p>
        </p:txBody>
      </p:sp>
    </p:spTree>
    <p:extLst>
      <p:ext uri="{BB962C8B-B14F-4D97-AF65-F5344CB8AC3E}">
        <p14:creationId xmlns:p14="http://schemas.microsoft.com/office/powerpoint/2010/main" val="2931710028"/>
      </p:ext>
    </p:extLst>
  </p:cSld>
  <p:clrMapOvr>
    <a:masterClrMapping/>
  </p:clrMapOvr>
  <p:transition spd="med"/>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6"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r>
              <a:rPr lang="en-AU" dirty="0" smtClean="0"/>
              <a:t>Apache Spark</a:t>
            </a:r>
            <a:endParaRPr lang="en-AU" dirty="0"/>
          </a:p>
        </p:txBody>
      </p:sp>
      <p:sp>
        <p:nvSpPr>
          <p:cNvPr id="14" name="Content Placeholder 13"/>
          <p:cNvSpPr>
            <a:spLocks noGrp="1"/>
          </p:cNvSpPr>
          <p:nvPr>
            <p:ph idx="1"/>
          </p:nvPr>
        </p:nvSpPr>
        <p:spPr>
          <a:xfrm>
            <a:off x="266699" y="972742"/>
            <a:ext cx="4971223" cy="3708116"/>
          </a:xfrm>
        </p:spPr>
        <p:txBody>
          <a:bodyPr/>
          <a:lstStyle/>
          <a:p>
            <a:pPr eaLnBrk="1" hangingPunct="1">
              <a:lnSpc>
                <a:spcPct val="120000"/>
              </a:lnSpc>
              <a:buClr>
                <a:srgbClr val="00B0F0"/>
              </a:buClr>
              <a:buFont typeface="Arial" pitchFamily="34" charset="0"/>
              <a:buChar char="•"/>
            </a:pPr>
            <a:r>
              <a:rPr lang="en-US" altLang="en-US" b="0" dirty="0" smtClean="0">
                <a:solidFill>
                  <a:schemeClr val="tx1"/>
                </a:solidFill>
                <a:latin typeface="Helvetica Neue Light"/>
                <a:ea typeface="Helvetica Neue Light"/>
                <a:cs typeface="Helvetica Neue Light"/>
              </a:rPr>
              <a:t>An Apache Foundation </a:t>
            </a:r>
            <a:r>
              <a:rPr lang="en-US" altLang="en-US" b="0" dirty="0" smtClean="0">
                <a:solidFill>
                  <a:srgbClr val="00B0F0"/>
                </a:solidFill>
                <a:latin typeface="Helvetica Neue Light"/>
                <a:ea typeface="Helvetica Neue Light"/>
                <a:cs typeface="Helvetica Neue Light"/>
              </a:rPr>
              <a:t>open source project</a:t>
            </a:r>
            <a:r>
              <a:rPr lang="en-US" altLang="en-US" b="0" dirty="0" smtClean="0">
                <a:solidFill>
                  <a:schemeClr val="tx1"/>
                </a:solidFill>
                <a:latin typeface="Helvetica Neue Light"/>
                <a:ea typeface="Helvetica Neue Light"/>
                <a:cs typeface="Helvetica Neue Light"/>
              </a:rPr>
              <a:t>.  Not a product.</a:t>
            </a:r>
          </a:p>
          <a:p>
            <a:pPr eaLnBrk="1" hangingPunct="1">
              <a:lnSpc>
                <a:spcPct val="120000"/>
              </a:lnSpc>
              <a:buClr>
                <a:srgbClr val="00B0F0"/>
              </a:buClr>
              <a:buFont typeface="Arial" pitchFamily="34" charset="0"/>
              <a:buChar char="•"/>
            </a:pPr>
            <a:r>
              <a:rPr lang="en-US" altLang="en-US" b="0" dirty="0" smtClean="0">
                <a:solidFill>
                  <a:schemeClr val="tx1"/>
                </a:solidFill>
                <a:latin typeface="Helvetica Neue Light"/>
                <a:ea typeface="Helvetica Neue Light"/>
                <a:cs typeface="Helvetica Neue Light"/>
              </a:rPr>
              <a:t>An </a:t>
            </a:r>
            <a:r>
              <a:rPr lang="en-US" altLang="en-US" b="0" dirty="0" smtClean="0">
                <a:solidFill>
                  <a:srgbClr val="00B0F0"/>
                </a:solidFill>
                <a:latin typeface="Helvetica Neue Light"/>
                <a:ea typeface="Helvetica Neue Light"/>
                <a:cs typeface="Helvetica Neue Light"/>
              </a:rPr>
              <a:t>in-memory compute engine </a:t>
            </a:r>
            <a:r>
              <a:rPr lang="en-US" altLang="en-US" b="0" dirty="0" smtClean="0">
                <a:solidFill>
                  <a:schemeClr val="tx1"/>
                </a:solidFill>
                <a:latin typeface="Helvetica Neue Light"/>
                <a:ea typeface="Helvetica Neue Light"/>
                <a:cs typeface="Helvetica Neue Light"/>
              </a:rPr>
              <a:t>that works with data.  Not a data store.</a:t>
            </a:r>
          </a:p>
          <a:p>
            <a:pPr eaLnBrk="1" hangingPunct="1">
              <a:lnSpc>
                <a:spcPct val="120000"/>
              </a:lnSpc>
              <a:buClr>
                <a:srgbClr val="00B0F0"/>
              </a:buClr>
              <a:buFont typeface="Arial" pitchFamily="34" charset="0"/>
              <a:buChar char="•"/>
            </a:pPr>
            <a:r>
              <a:rPr lang="en-US" altLang="en-US" b="0" dirty="0" smtClean="0">
                <a:solidFill>
                  <a:schemeClr val="tx1"/>
                </a:solidFill>
                <a:latin typeface="Helvetica Neue Light"/>
                <a:ea typeface="Helvetica Neue Light"/>
                <a:cs typeface="Helvetica Neue Light"/>
              </a:rPr>
              <a:t>Enables </a:t>
            </a:r>
            <a:r>
              <a:rPr lang="en-US" altLang="en-US" b="0" dirty="0" smtClean="0">
                <a:solidFill>
                  <a:srgbClr val="00B0F0"/>
                </a:solidFill>
                <a:latin typeface="Helvetica Neue Light"/>
                <a:ea typeface="Helvetica Neue Light"/>
                <a:cs typeface="Helvetica Neue Light"/>
              </a:rPr>
              <a:t>highly iterative analysis </a:t>
            </a:r>
            <a:r>
              <a:rPr lang="en-US" altLang="en-US" b="0" dirty="0" smtClean="0">
                <a:solidFill>
                  <a:schemeClr val="tx1"/>
                </a:solidFill>
                <a:latin typeface="Helvetica Neue Light"/>
                <a:ea typeface="Helvetica Neue Light"/>
                <a:cs typeface="Helvetica Neue Light"/>
              </a:rPr>
              <a:t>on large volumes of data at scale</a:t>
            </a:r>
          </a:p>
          <a:p>
            <a:pPr eaLnBrk="1" hangingPunct="1">
              <a:lnSpc>
                <a:spcPct val="120000"/>
              </a:lnSpc>
              <a:buClr>
                <a:srgbClr val="00B0F0"/>
              </a:buClr>
              <a:buFont typeface="Arial" pitchFamily="34" charset="0"/>
              <a:buChar char="•"/>
            </a:pPr>
            <a:r>
              <a:rPr lang="en-US" altLang="en-US" b="0" dirty="0" smtClean="0">
                <a:solidFill>
                  <a:srgbClr val="00B0F0"/>
                </a:solidFill>
                <a:latin typeface="Helvetica Neue Light"/>
                <a:ea typeface="Helvetica Neue Light"/>
                <a:cs typeface="Helvetica Neue Light"/>
              </a:rPr>
              <a:t>Unified environment for </a:t>
            </a:r>
            <a:r>
              <a:rPr lang="en-US" altLang="en-US" b="0" dirty="0" smtClean="0">
                <a:solidFill>
                  <a:schemeClr val="tx1"/>
                </a:solidFill>
                <a:latin typeface="Helvetica Neue Light"/>
                <a:ea typeface="Helvetica Neue Light"/>
                <a:cs typeface="Helvetica Neue Light"/>
              </a:rPr>
              <a:t>data scientists, developers and data engineers</a:t>
            </a:r>
          </a:p>
          <a:p>
            <a:pPr eaLnBrk="1" hangingPunct="1">
              <a:lnSpc>
                <a:spcPct val="120000"/>
              </a:lnSpc>
              <a:buClr>
                <a:srgbClr val="00B0F0"/>
              </a:buClr>
              <a:buFont typeface="Arial" pitchFamily="34" charset="0"/>
              <a:buChar char="•"/>
            </a:pPr>
            <a:r>
              <a:rPr lang="en-US" altLang="en-US" b="0" dirty="0" smtClean="0">
                <a:solidFill>
                  <a:schemeClr val="tx1"/>
                </a:solidFill>
                <a:latin typeface="Helvetica Neue Light"/>
              </a:rPr>
              <a:t>Radically simplifies process of developing </a:t>
            </a:r>
            <a:r>
              <a:rPr lang="en-US" altLang="en-US" b="0" dirty="0" smtClean="0">
                <a:solidFill>
                  <a:srgbClr val="00B0F0"/>
                </a:solidFill>
                <a:latin typeface="Helvetica Neue Light"/>
              </a:rPr>
              <a:t>intelligent apps </a:t>
            </a:r>
            <a:r>
              <a:rPr lang="en-US" altLang="en-US" b="0" dirty="0" smtClean="0">
                <a:solidFill>
                  <a:schemeClr val="tx1"/>
                </a:solidFill>
                <a:latin typeface="Helvetica Neue Light"/>
              </a:rPr>
              <a:t>fueled by data.</a:t>
            </a:r>
          </a:p>
          <a:p>
            <a:endParaRPr lang="en-AU" dirty="0"/>
          </a:p>
        </p:txBody>
      </p:sp>
      <p:pic>
        <p:nvPicPr>
          <p:cNvPr id="15" name="Picture 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436156" y="1787965"/>
            <a:ext cx="3218561" cy="1614811"/>
          </a:xfrm>
          <a:prstGeom prst="rect">
            <a:avLst/>
          </a:prstGeom>
          <a:noFill/>
          <a:ln w="9525">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sp>
        <p:nvSpPr>
          <p:cNvPr id="16" name="TextBox 10"/>
          <p:cNvSpPr txBox="1">
            <a:spLocks noChangeArrowheads="1"/>
          </p:cNvSpPr>
          <p:nvPr/>
        </p:nvSpPr>
        <p:spPr bwMode="auto">
          <a:xfrm>
            <a:off x="5640422" y="3448910"/>
            <a:ext cx="2930071"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1087438">
              <a:defRPr sz="5000">
                <a:solidFill>
                  <a:schemeClr val="tx1"/>
                </a:solidFill>
                <a:latin typeface="Helvetica Light"/>
                <a:ea typeface="Helvetica Light"/>
                <a:cs typeface="Helvetica Light"/>
                <a:sym typeface="Helvetica Light"/>
              </a:defRPr>
            </a:lvl1pPr>
            <a:lvl2pPr marL="742950" indent="-285750" defTabSz="1087438">
              <a:defRPr sz="5000">
                <a:solidFill>
                  <a:schemeClr val="tx1"/>
                </a:solidFill>
                <a:latin typeface="Helvetica Light"/>
                <a:ea typeface="Helvetica Light"/>
                <a:cs typeface="Helvetica Light"/>
                <a:sym typeface="Helvetica Light"/>
              </a:defRPr>
            </a:lvl2pPr>
            <a:lvl3pPr marL="1143000" indent="-228600" defTabSz="1087438">
              <a:defRPr sz="5000">
                <a:solidFill>
                  <a:schemeClr val="tx1"/>
                </a:solidFill>
                <a:latin typeface="Helvetica Light"/>
                <a:ea typeface="Helvetica Light"/>
                <a:cs typeface="Helvetica Light"/>
                <a:sym typeface="Helvetica Light"/>
              </a:defRPr>
            </a:lvl3pPr>
            <a:lvl4pPr marL="1600200" indent="-228600" defTabSz="1087438">
              <a:defRPr sz="5000">
                <a:solidFill>
                  <a:schemeClr val="tx1"/>
                </a:solidFill>
                <a:latin typeface="Helvetica Light"/>
                <a:ea typeface="Helvetica Light"/>
                <a:cs typeface="Helvetica Light"/>
                <a:sym typeface="Helvetica Light"/>
              </a:defRPr>
            </a:lvl4pPr>
            <a:lvl5pPr marL="2057400" indent="-228600" defTabSz="1087438">
              <a:defRPr sz="5000">
                <a:solidFill>
                  <a:schemeClr val="tx1"/>
                </a:solidFill>
                <a:latin typeface="Helvetica Light"/>
                <a:ea typeface="Helvetica Light"/>
                <a:cs typeface="Helvetica Light"/>
                <a:sym typeface="Helvetica Light"/>
              </a:defRPr>
            </a:lvl5pPr>
            <a:lvl6pPr marL="2514600" indent="-228600" defTabSz="1087438" eaLnBrk="0" fontAlgn="base" hangingPunct="0">
              <a:spcBef>
                <a:spcPct val="0"/>
              </a:spcBef>
              <a:spcAft>
                <a:spcPct val="0"/>
              </a:spcAft>
              <a:defRPr sz="5000">
                <a:solidFill>
                  <a:schemeClr val="tx1"/>
                </a:solidFill>
                <a:latin typeface="Helvetica Light"/>
                <a:ea typeface="Helvetica Light"/>
                <a:cs typeface="Helvetica Light"/>
                <a:sym typeface="Helvetica Light"/>
              </a:defRPr>
            </a:lvl6pPr>
            <a:lvl7pPr marL="2971800" indent="-228600" defTabSz="1087438" eaLnBrk="0" fontAlgn="base" hangingPunct="0">
              <a:spcBef>
                <a:spcPct val="0"/>
              </a:spcBef>
              <a:spcAft>
                <a:spcPct val="0"/>
              </a:spcAft>
              <a:defRPr sz="5000">
                <a:solidFill>
                  <a:schemeClr val="tx1"/>
                </a:solidFill>
                <a:latin typeface="Helvetica Light"/>
                <a:ea typeface="Helvetica Light"/>
                <a:cs typeface="Helvetica Light"/>
                <a:sym typeface="Helvetica Light"/>
              </a:defRPr>
            </a:lvl7pPr>
            <a:lvl8pPr marL="3429000" indent="-228600" defTabSz="1087438" eaLnBrk="0" fontAlgn="base" hangingPunct="0">
              <a:spcBef>
                <a:spcPct val="0"/>
              </a:spcBef>
              <a:spcAft>
                <a:spcPct val="0"/>
              </a:spcAft>
              <a:defRPr sz="5000">
                <a:solidFill>
                  <a:schemeClr val="tx1"/>
                </a:solidFill>
                <a:latin typeface="Helvetica Light"/>
                <a:ea typeface="Helvetica Light"/>
                <a:cs typeface="Helvetica Light"/>
                <a:sym typeface="Helvetica Light"/>
              </a:defRPr>
            </a:lvl8pPr>
            <a:lvl9pPr marL="3886200" indent="-228600" defTabSz="1087438" eaLnBrk="0" fontAlgn="base" hangingPunct="0">
              <a:spcBef>
                <a:spcPct val="0"/>
              </a:spcBef>
              <a:spcAft>
                <a:spcPct val="0"/>
              </a:spcAft>
              <a:defRPr sz="5000">
                <a:solidFill>
                  <a:schemeClr val="tx1"/>
                </a:solidFill>
                <a:latin typeface="Helvetica Light"/>
                <a:ea typeface="Helvetica Light"/>
                <a:cs typeface="Helvetica Light"/>
                <a:sym typeface="Helvetica Light"/>
              </a:defRPr>
            </a:lvl9pPr>
          </a:lstStyle>
          <a:p>
            <a:pPr algn="ctr"/>
            <a:r>
              <a:rPr lang="en-US" altLang="en-US" sz="2000" dirty="0">
                <a:solidFill>
                  <a:srgbClr val="00B0F0"/>
                </a:solidFill>
                <a:latin typeface="Calibri" panose="020F0502020204030204" pitchFamily="34" charset="0"/>
                <a:cs typeface="Arial" panose="020B0604020202020204" pitchFamily="34" charset="0"/>
              </a:rPr>
              <a:t>from http://spark.apache.org</a:t>
            </a:r>
          </a:p>
        </p:txBody>
      </p:sp>
      <p:pic>
        <p:nvPicPr>
          <p:cNvPr id="17" name="Picture 6" descr="http://snowplowanalytics.com/assets/img/blog/2015/05/spark_logo.png"/>
          <p:cNvPicPr>
            <a:picLocks noChangeAspect="1" noChangeArrowheads="1"/>
          </p:cNvPicPr>
          <p:nvPr/>
        </p:nvPicPr>
        <p:blipFill>
          <a:blip r:embed="rId8"/>
          <a:srcRect/>
          <a:stretch>
            <a:fillRect/>
          </a:stretch>
        </p:blipFill>
        <p:spPr bwMode="auto">
          <a:xfrm>
            <a:off x="6998503" y="280753"/>
            <a:ext cx="2014869" cy="1048956"/>
          </a:xfrm>
          <a:prstGeom prst="rect">
            <a:avLst/>
          </a:prstGeom>
          <a:noFill/>
        </p:spPr>
      </p:pic>
    </p:spTree>
    <p:extLst>
      <p:ext uri="{BB962C8B-B14F-4D97-AF65-F5344CB8AC3E}">
        <p14:creationId xmlns:p14="http://schemas.microsoft.com/office/powerpoint/2010/main" val="1863094584"/>
      </p:ext>
    </p:extLst>
  </p:cSld>
  <p:clrMapOvr>
    <a:masterClrMapping/>
  </p:clrMapOvr>
  <p:transition spd="med"/>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0"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p:txBody>
          <a:bodyPr/>
          <a:lstStyle/>
          <a:p>
            <a:r>
              <a:rPr lang="en-US" dirty="0" smtClean="0">
                <a:latin typeface="Helvetica"/>
                <a:sym typeface="Helvetica"/>
              </a:rPr>
              <a:t>Evolving quickly, High Traction</a:t>
            </a:r>
            <a:endParaRPr lang="en-US" dirty="0">
              <a:latin typeface="Helvetica"/>
              <a:sym typeface="Helvetica"/>
            </a:endParaRPr>
          </a:p>
        </p:txBody>
      </p:sp>
      <p:sp>
        <p:nvSpPr>
          <p:cNvPr id="5" name="Rectangle 3"/>
          <p:cNvSpPr txBox="1">
            <a:spLocks noChangeArrowheads="1"/>
          </p:cNvSpPr>
          <p:nvPr/>
        </p:nvSpPr>
        <p:spPr bwMode="gray">
          <a:xfrm>
            <a:off x="400050" y="1131572"/>
            <a:ext cx="2834212" cy="49244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76213" indent="-176213" algn="l" rtl="0" eaLnBrk="0" fontAlgn="base" hangingPunct="0">
              <a:spcBef>
                <a:spcPct val="20000"/>
              </a:spcBef>
              <a:spcAft>
                <a:spcPct val="0"/>
              </a:spcAft>
              <a:buClr>
                <a:schemeClr val="accent2"/>
              </a:buClr>
              <a:buFont typeface="Wingdings" pitchFamily="2" charset="2"/>
              <a:buChar char="§"/>
              <a:defRPr sz="2400" kern="1200">
                <a:solidFill>
                  <a:srgbClr val="000000"/>
                </a:solidFill>
                <a:latin typeface="+mn-lt"/>
                <a:ea typeface="+mn-ea"/>
                <a:cs typeface="+mn-cs"/>
              </a:defRPr>
            </a:lvl1pPr>
            <a:lvl2pPr marL="515938" indent="-225425" algn="l" rtl="0" eaLnBrk="0" fontAlgn="base" hangingPunct="0">
              <a:spcBef>
                <a:spcPct val="20000"/>
              </a:spcBef>
              <a:spcAft>
                <a:spcPct val="0"/>
              </a:spcAft>
              <a:buClr>
                <a:schemeClr val="tx1"/>
              </a:buClr>
              <a:buFont typeface="Symbol" pitchFamily="18" charset="2"/>
              <a:buChar char="-"/>
              <a:defRPr sz="2000" kern="1200">
                <a:solidFill>
                  <a:schemeClr val="tx1"/>
                </a:solidFill>
                <a:latin typeface="+mn-lt"/>
                <a:ea typeface="+mn-ea"/>
                <a:cs typeface="+mn-cs"/>
              </a:defRPr>
            </a:lvl2pPr>
            <a:lvl3pPr marL="804863" indent="-17145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430338" indent="-176213"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4pPr>
            <a:lvl5pPr marL="1949450" indent="-238125"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F1C7D"/>
              </a:buClr>
              <a:buFont typeface="Wingdings" pitchFamily="2" charset="2"/>
              <a:buNone/>
            </a:pPr>
            <a:r>
              <a:rPr lang="en-US" sz="1600" dirty="0" smtClean="0">
                <a:latin typeface="Helvetica"/>
                <a:sym typeface="Helvetica"/>
              </a:rPr>
              <a:t>Spark is one of the most active open source projects </a:t>
            </a:r>
            <a:endParaRPr lang="en-US" sz="1600" dirty="0">
              <a:latin typeface="Helvetica"/>
              <a:sym typeface="Helvetica"/>
            </a:endParaRPr>
          </a:p>
        </p:txBody>
      </p:sp>
      <p:sp>
        <p:nvSpPr>
          <p:cNvPr id="8" name="Text Placeholder 2"/>
          <p:cNvSpPr txBox="1">
            <a:spLocks/>
          </p:cNvSpPr>
          <p:nvPr/>
        </p:nvSpPr>
        <p:spPr bwMode="gray">
          <a:xfrm>
            <a:off x="6108850" y="2168821"/>
            <a:ext cx="2781150" cy="246221"/>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endParaRPr lang="en-US" sz="1600" dirty="0">
              <a:solidFill>
                <a:srgbClr val="000000"/>
              </a:solidFill>
            </a:endParaRPr>
          </a:p>
        </p:txBody>
      </p:sp>
      <p:pic>
        <p:nvPicPr>
          <p:cNvPr id="4" name="Picture 3"/>
          <p:cNvPicPr>
            <a:picLocks noChangeAspect="1"/>
          </p:cNvPicPr>
          <p:nvPr/>
        </p:nvPicPr>
        <p:blipFill>
          <a:blip r:embed="rId7"/>
          <a:stretch>
            <a:fillRect/>
          </a:stretch>
        </p:blipFill>
        <p:spPr>
          <a:xfrm>
            <a:off x="3800476" y="1350423"/>
            <a:ext cx="4951196" cy="1249902"/>
          </a:xfrm>
          <a:prstGeom prst="rect">
            <a:avLst/>
          </a:prstGeom>
        </p:spPr>
      </p:pic>
      <p:sp>
        <p:nvSpPr>
          <p:cNvPr id="10" name="Rectangle 3"/>
          <p:cNvSpPr txBox="1">
            <a:spLocks noChangeArrowheads="1"/>
          </p:cNvSpPr>
          <p:nvPr/>
        </p:nvSpPr>
        <p:spPr bwMode="gray">
          <a:xfrm>
            <a:off x="3795834" y="1138737"/>
            <a:ext cx="3529133"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76213" indent="-176213" algn="l" rtl="0" eaLnBrk="0" fontAlgn="base" hangingPunct="0">
              <a:spcBef>
                <a:spcPct val="20000"/>
              </a:spcBef>
              <a:spcAft>
                <a:spcPct val="0"/>
              </a:spcAft>
              <a:buClr>
                <a:schemeClr val="accent2"/>
              </a:buClr>
              <a:buFont typeface="Wingdings" pitchFamily="2" charset="2"/>
              <a:buChar char="§"/>
              <a:defRPr sz="2400" kern="1200">
                <a:solidFill>
                  <a:srgbClr val="000000"/>
                </a:solidFill>
                <a:latin typeface="+mn-lt"/>
                <a:ea typeface="+mn-ea"/>
                <a:cs typeface="+mn-cs"/>
              </a:defRPr>
            </a:lvl1pPr>
            <a:lvl2pPr marL="515938" indent="-225425" algn="l" rtl="0" eaLnBrk="0" fontAlgn="base" hangingPunct="0">
              <a:spcBef>
                <a:spcPct val="20000"/>
              </a:spcBef>
              <a:spcAft>
                <a:spcPct val="0"/>
              </a:spcAft>
              <a:buClr>
                <a:schemeClr val="tx1"/>
              </a:buClr>
              <a:buFont typeface="Symbol" pitchFamily="18" charset="2"/>
              <a:buChar char="-"/>
              <a:defRPr sz="2000" kern="1200">
                <a:solidFill>
                  <a:schemeClr val="tx1"/>
                </a:solidFill>
                <a:latin typeface="+mn-lt"/>
                <a:ea typeface="+mn-ea"/>
                <a:cs typeface="+mn-cs"/>
              </a:defRPr>
            </a:lvl2pPr>
            <a:lvl3pPr marL="804863" indent="-17145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430338" indent="-176213"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4pPr>
            <a:lvl5pPr marL="1949450" indent="-238125"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F1C7D"/>
              </a:buClr>
              <a:buFont typeface="Wingdings" pitchFamily="2" charset="2"/>
              <a:buNone/>
            </a:pPr>
            <a:r>
              <a:rPr lang="en-US" sz="1600" dirty="0" smtClean="0">
                <a:latin typeface="Helvetica"/>
                <a:sym typeface="Helvetica"/>
              </a:rPr>
              <a:t>Interest over time (Google Trends)</a:t>
            </a:r>
            <a:endParaRPr lang="en-US" sz="1600" dirty="0">
              <a:latin typeface="Helvetica"/>
              <a:sym typeface="Helvetica"/>
            </a:endParaRPr>
          </a:p>
        </p:txBody>
      </p:sp>
      <p:sp>
        <p:nvSpPr>
          <p:cNvPr id="11" name="Rectangle 3"/>
          <p:cNvSpPr txBox="1">
            <a:spLocks noChangeArrowheads="1"/>
          </p:cNvSpPr>
          <p:nvPr/>
        </p:nvSpPr>
        <p:spPr bwMode="gray">
          <a:xfrm>
            <a:off x="1202879" y="4771743"/>
            <a:ext cx="8495335" cy="3046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76213" indent="-176213" algn="l" rtl="0" eaLnBrk="0" fontAlgn="base" hangingPunct="0">
              <a:spcBef>
                <a:spcPct val="20000"/>
              </a:spcBef>
              <a:spcAft>
                <a:spcPct val="0"/>
              </a:spcAft>
              <a:buClr>
                <a:schemeClr val="accent2"/>
              </a:buClr>
              <a:buFont typeface="Wingdings" pitchFamily="2" charset="2"/>
              <a:buChar char="§"/>
              <a:defRPr sz="2400" kern="1200">
                <a:solidFill>
                  <a:srgbClr val="000000"/>
                </a:solidFill>
                <a:latin typeface="+mn-lt"/>
                <a:ea typeface="+mn-ea"/>
                <a:cs typeface="+mn-cs"/>
              </a:defRPr>
            </a:lvl1pPr>
            <a:lvl2pPr marL="515938" indent="-225425" algn="l" rtl="0" eaLnBrk="0" fontAlgn="base" hangingPunct="0">
              <a:spcBef>
                <a:spcPct val="20000"/>
              </a:spcBef>
              <a:spcAft>
                <a:spcPct val="0"/>
              </a:spcAft>
              <a:buClr>
                <a:schemeClr val="tx1"/>
              </a:buClr>
              <a:buFont typeface="Symbol" pitchFamily="18" charset="2"/>
              <a:buChar char="-"/>
              <a:defRPr sz="2000" kern="1200">
                <a:solidFill>
                  <a:schemeClr val="tx1"/>
                </a:solidFill>
                <a:latin typeface="+mn-lt"/>
                <a:ea typeface="+mn-ea"/>
                <a:cs typeface="+mn-cs"/>
              </a:defRPr>
            </a:lvl2pPr>
            <a:lvl3pPr marL="804863" indent="-17145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430338" indent="-176213"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4pPr>
            <a:lvl5pPr marL="1949450" indent="-238125"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F1C7D"/>
              </a:buClr>
              <a:buFont typeface="Wingdings" pitchFamily="2" charset="2"/>
              <a:buNone/>
            </a:pPr>
            <a:r>
              <a:rPr lang="en-US" sz="900" dirty="0">
                <a:latin typeface="Helvetica"/>
                <a:sym typeface="Helvetica"/>
              </a:rPr>
              <a:t>Source: </a:t>
            </a:r>
            <a:r>
              <a:rPr lang="en-US" sz="900" dirty="0">
                <a:latin typeface="Helvetica"/>
                <a:sym typeface="Helvetica"/>
                <a:hlinkClick r:id="rId8"/>
              </a:rPr>
              <a:t>https://www.google.com/trends/explore#q=apache%20spark&amp;cmpt=q&amp;tz</a:t>
            </a:r>
            <a:r>
              <a:rPr lang="en-US" sz="900" dirty="0" smtClean="0">
                <a:latin typeface="Helvetica"/>
                <a:sym typeface="Helvetica"/>
              </a:rPr>
              <a:t>=</a:t>
            </a:r>
          </a:p>
          <a:p>
            <a:pPr marL="0" indent="0">
              <a:buClr>
                <a:srgbClr val="7F1C7D"/>
              </a:buClr>
              <a:buFont typeface="Wingdings" pitchFamily="2" charset="2"/>
              <a:buNone/>
            </a:pPr>
            <a:r>
              <a:rPr lang="en-US" sz="900" dirty="0">
                <a:latin typeface="Helvetica"/>
                <a:sym typeface="Helvetica"/>
                <a:hlinkClick r:id="rId9"/>
              </a:rPr>
              <a:t>http://www.indeed.com/jobanalytics/jobtrends?q=apache+spark&amp;l</a:t>
            </a:r>
            <a:r>
              <a:rPr lang="en-US" sz="900" dirty="0" smtClean="0">
                <a:latin typeface="Helvetica"/>
                <a:sym typeface="Helvetica"/>
              </a:rPr>
              <a:t>= </a:t>
            </a:r>
            <a:endParaRPr lang="en-US" sz="900" dirty="0">
              <a:latin typeface="Helvetica"/>
              <a:sym typeface="Helvetica"/>
            </a:endParaRPr>
          </a:p>
        </p:txBody>
      </p:sp>
      <p:sp>
        <p:nvSpPr>
          <p:cNvPr id="13" name="Rectangle 3"/>
          <p:cNvSpPr txBox="1">
            <a:spLocks noChangeArrowheads="1"/>
          </p:cNvSpPr>
          <p:nvPr/>
        </p:nvSpPr>
        <p:spPr bwMode="gray">
          <a:xfrm>
            <a:off x="3795834" y="2830167"/>
            <a:ext cx="3529133"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176213" indent="-176213" algn="l" rtl="0" eaLnBrk="0" fontAlgn="base" hangingPunct="0">
              <a:spcBef>
                <a:spcPct val="20000"/>
              </a:spcBef>
              <a:spcAft>
                <a:spcPct val="0"/>
              </a:spcAft>
              <a:buClr>
                <a:schemeClr val="accent2"/>
              </a:buClr>
              <a:buFont typeface="Wingdings" pitchFamily="2" charset="2"/>
              <a:buChar char="§"/>
              <a:defRPr sz="2400" kern="1200">
                <a:solidFill>
                  <a:srgbClr val="000000"/>
                </a:solidFill>
                <a:latin typeface="+mn-lt"/>
                <a:ea typeface="+mn-ea"/>
                <a:cs typeface="+mn-cs"/>
              </a:defRPr>
            </a:lvl1pPr>
            <a:lvl2pPr marL="515938" indent="-225425" algn="l" rtl="0" eaLnBrk="0" fontAlgn="base" hangingPunct="0">
              <a:spcBef>
                <a:spcPct val="20000"/>
              </a:spcBef>
              <a:spcAft>
                <a:spcPct val="0"/>
              </a:spcAft>
              <a:buClr>
                <a:schemeClr val="tx1"/>
              </a:buClr>
              <a:buFont typeface="Symbol" pitchFamily="18" charset="2"/>
              <a:buChar char="-"/>
              <a:defRPr sz="2000" kern="1200">
                <a:solidFill>
                  <a:schemeClr val="tx1"/>
                </a:solidFill>
                <a:latin typeface="+mn-lt"/>
                <a:ea typeface="+mn-ea"/>
                <a:cs typeface="+mn-cs"/>
              </a:defRPr>
            </a:lvl2pPr>
            <a:lvl3pPr marL="804863" indent="-171450" algn="l" rtl="0" eaLnBrk="0" fontAlgn="base" hangingPunct="0">
              <a:spcBef>
                <a:spcPct val="20000"/>
              </a:spcBef>
              <a:spcAft>
                <a:spcPct val="0"/>
              </a:spcAft>
              <a:buClr>
                <a:schemeClr val="tx1"/>
              </a:buClr>
              <a:buChar char="•"/>
              <a:defRPr sz="2000" kern="1200">
                <a:solidFill>
                  <a:schemeClr val="tx1"/>
                </a:solidFill>
                <a:latin typeface="+mn-lt"/>
                <a:ea typeface="+mn-ea"/>
                <a:cs typeface="+mn-cs"/>
              </a:defRPr>
            </a:lvl3pPr>
            <a:lvl4pPr marL="1430338" indent="-176213"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4pPr>
            <a:lvl5pPr marL="1949450" indent="-238125" algn="l" rtl="0" eaLnBrk="0" fontAlgn="base" hangingPunct="0">
              <a:spcBef>
                <a:spcPct val="20000"/>
              </a:spcBef>
              <a:spcAft>
                <a:spcPct val="0"/>
              </a:spcAft>
              <a:buClr>
                <a:schemeClr val="tx1"/>
              </a:buClr>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7F1C7D"/>
              </a:buClr>
              <a:buFont typeface="Wingdings" pitchFamily="2" charset="2"/>
              <a:buNone/>
            </a:pPr>
            <a:r>
              <a:rPr lang="en-US" sz="1600" dirty="0" smtClean="0">
                <a:latin typeface="Helvetica"/>
                <a:sym typeface="Helvetica"/>
              </a:rPr>
              <a:t>Job Trends (</a:t>
            </a:r>
            <a:r>
              <a:rPr lang="en-US" sz="1600" dirty="0" err="1" smtClean="0">
                <a:latin typeface="Helvetica"/>
                <a:sym typeface="Helvetica"/>
              </a:rPr>
              <a:t>Indeed.com</a:t>
            </a:r>
            <a:r>
              <a:rPr lang="en-US" sz="1600" dirty="0" smtClean="0">
                <a:latin typeface="Helvetica"/>
                <a:sym typeface="Helvetica"/>
              </a:rPr>
              <a:t>)</a:t>
            </a:r>
            <a:endParaRPr lang="en-US" sz="1600" dirty="0">
              <a:latin typeface="Helvetica"/>
              <a:sym typeface="Helvetica"/>
            </a:endParaRPr>
          </a:p>
        </p:txBody>
      </p:sp>
      <p:pic>
        <p:nvPicPr>
          <p:cNvPr id="12" name="Picture 11"/>
          <p:cNvPicPr>
            <a:picLocks noChangeAspect="1"/>
          </p:cNvPicPr>
          <p:nvPr/>
        </p:nvPicPr>
        <p:blipFill>
          <a:blip r:embed="rId10"/>
          <a:stretch>
            <a:fillRect/>
          </a:stretch>
        </p:blipFill>
        <p:spPr>
          <a:xfrm>
            <a:off x="3810000" y="3110083"/>
            <a:ext cx="4942114" cy="1418409"/>
          </a:xfrm>
          <a:prstGeom prst="rect">
            <a:avLst/>
          </a:prstGeom>
        </p:spPr>
      </p:pic>
      <p:pic>
        <p:nvPicPr>
          <p:cNvPr id="15" name="Picture 14"/>
          <p:cNvPicPr>
            <a:picLocks noChangeAspect="1"/>
          </p:cNvPicPr>
          <p:nvPr/>
        </p:nvPicPr>
        <p:blipFill>
          <a:blip r:embed="rId11"/>
          <a:stretch>
            <a:fillRect/>
          </a:stretch>
        </p:blipFill>
        <p:spPr>
          <a:xfrm>
            <a:off x="377825" y="1628202"/>
            <a:ext cx="2935812" cy="2937458"/>
          </a:xfrm>
          <a:prstGeom prst="rect">
            <a:avLst/>
          </a:prstGeom>
        </p:spPr>
      </p:pic>
    </p:spTree>
    <p:extLst>
      <p:ext uri="{BB962C8B-B14F-4D97-AF65-F5344CB8AC3E}">
        <p14:creationId xmlns:p14="http://schemas.microsoft.com/office/powerpoint/2010/main" val="2972779783"/>
      </p:ext>
    </p:extLst>
  </p:cSld>
  <p:clrMapOvr>
    <a:masterClrMapping/>
  </p:clrMapOvr>
  <p:transition spd="med"/>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Object 48"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74"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p:txBody>
          <a:bodyPr wrap="square">
            <a:spAutoFit/>
          </a:bodyPr>
          <a:lstStyle/>
          <a:p>
            <a:r>
              <a:rPr lang="en-US" dirty="0">
                <a:latin typeface="Arial" charset="0"/>
                <a:ea typeface="ＭＳ Ｐゴシック" charset="0"/>
              </a:rPr>
              <a:t>Key </a:t>
            </a:r>
            <a:r>
              <a:rPr lang="en-US" dirty="0" smtClean="0">
                <a:latin typeface="Arial" charset="0"/>
                <a:ea typeface="ＭＳ Ｐゴシック" charset="0"/>
              </a:rPr>
              <a:t>reasons </a:t>
            </a:r>
            <a:r>
              <a:rPr lang="en-US" dirty="0">
                <a:latin typeface="Arial" charset="0"/>
                <a:ea typeface="ＭＳ Ｐゴシック" charset="0"/>
              </a:rPr>
              <a:t>for </a:t>
            </a:r>
            <a:r>
              <a:rPr lang="en-US" dirty="0" smtClean="0">
                <a:latin typeface="Arial" charset="0"/>
                <a:ea typeface="ＭＳ Ｐゴシック" charset="0"/>
              </a:rPr>
              <a:t>interest </a:t>
            </a:r>
            <a:r>
              <a:rPr lang="en-US" dirty="0">
                <a:latin typeface="Arial" charset="0"/>
                <a:ea typeface="ＭＳ Ｐゴシック" charset="0"/>
              </a:rPr>
              <a:t>in Spark</a:t>
            </a:r>
            <a:endParaRPr lang="en-US" dirty="0">
              <a:latin typeface="Helvetica"/>
              <a:sym typeface="Helvetica"/>
            </a:endParaRPr>
          </a:p>
        </p:txBody>
      </p:sp>
      <p:sp>
        <p:nvSpPr>
          <p:cNvPr id="7" name="TextBox 6"/>
          <p:cNvSpPr txBox="1"/>
          <p:nvPr/>
        </p:nvSpPr>
        <p:spPr>
          <a:xfrm>
            <a:off x="384820" y="1006151"/>
            <a:ext cx="2756760" cy="377026"/>
          </a:xfrm>
          <a:prstGeom prst="rect">
            <a:avLst/>
          </a:prstGeom>
          <a:noFill/>
        </p:spPr>
        <p:txBody>
          <a:bodyPr wrap="square" lIns="68580" tIns="34290" rIns="68580" bIns="34290" rtlCol="0">
            <a:spAutoFit/>
          </a:bodyPr>
          <a:lstStyle/>
          <a:p>
            <a:pPr>
              <a:spcBef>
                <a:spcPts val="600"/>
              </a:spcBef>
            </a:pPr>
            <a:r>
              <a:rPr lang="en-US" sz="2000" b="1" dirty="0" smtClean="0">
                <a:cs typeface="Arial" panose="020B0604020202020204" pitchFamily="34" charset="0"/>
              </a:rPr>
              <a:t>High Performance</a:t>
            </a:r>
            <a:endParaRPr lang="en-US" sz="2000" dirty="0" smtClean="0">
              <a:latin typeface="Arial Narrow"/>
              <a:cs typeface="Arial Narrow"/>
            </a:endParaRPr>
          </a:p>
        </p:txBody>
      </p:sp>
      <p:sp>
        <p:nvSpPr>
          <p:cNvPr id="8" name="Right Arrow 7"/>
          <p:cNvSpPr/>
          <p:nvPr/>
        </p:nvSpPr>
        <p:spPr>
          <a:xfrm>
            <a:off x="3391300" y="1036388"/>
            <a:ext cx="342900" cy="2476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TextBox 10"/>
          <p:cNvSpPr txBox="1"/>
          <p:nvPr/>
        </p:nvSpPr>
        <p:spPr>
          <a:xfrm>
            <a:off x="4105815" y="998783"/>
            <a:ext cx="4769291" cy="533992"/>
          </a:xfrm>
          <a:prstGeom prst="rect">
            <a:avLst/>
          </a:prstGeom>
          <a:noFill/>
        </p:spPr>
        <p:txBody>
          <a:bodyPr wrap="square" lIns="68580" tIns="34290" rIns="68580" bIns="34290" rtlCol="0">
            <a:spAutoFit/>
          </a:bodyPr>
          <a:lstStyle/>
          <a:p>
            <a:pPr marL="342900" indent="-342900">
              <a:lnSpc>
                <a:spcPct val="90000"/>
              </a:lnSpc>
              <a:spcBef>
                <a:spcPts val="600"/>
              </a:spcBef>
              <a:buClr>
                <a:srgbClr val="34B1EC"/>
              </a:buClr>
              <a:buFont typeface="Wingdings" charset="2"/>
              <a:buChar char="§"/>
            </a:pPr>
            <a:r>
              <a:rPr lang="en-US" sz="1400" dirty="0" smtClean="0">
                <a:solidFill>
                  <a:srgbClr val="000000"/>
                </a:solidFill>
                <a:cs typeface="Arial" panose="020B0604020202020204" pitchFamily="34" charset="0"/>
              </a:rPr>
              <a:t>In-memory architecture greatly reduces disk I/O</a:t>
            </a:r>
          </a:p>
          <a:p>
            <a:pPr marL="342900" indent="-342900">
              <a:lnSpc>
                <a:spcPct val="90000"/>
              </a:lnSpc>
              <a:spcBef>
                <a:spcPts val="600"/>
              </a:spcBef>
              <a:buClr>
                <a:srgbClr val="34B1EC"/>
              </a:buClr>
              <a:buFont typeface="Wingdings" charset="2"/>
              <a:buChar char="§"/>
            </a:pPr>
            <a:r>
              <a:rPr lang="en-US" sz="1400" dirty="0" smtClean="0">
                <a:solidFill>
                  <a:srgbClr val="000000"/>
                </a:solidFill>
                <a:cs typeface="Arial" panose="020B0604020202020204" pitchFamily="34" charset="0"/>
              </a:rPr>
              <a:t>Anywhere from </a:t>
            </a:r>
            <a:r>
              <a:rPr lang="en-US" sz="1400" b="1" dirty="0" smtClean="0">
                <a:solidFill>
                  <a:srgbClr val="000000"/>
                </a:solidFill>
                <a:cs typeface="Arial" panose="020B0604020202020204" pitchFamily="34" charset="0"/>
              </a:rPr>
              <a:t>20-100x faster</a:t>
            </a:r>
            <a:r>
              <a:rPr lang="en-US" sz="1400" dirty="0" smtClean="0">
                <a:solidFill>
                  <a:srgbClr val="000000"/>
                </a:solidFill>
                <a:cs typeface="Arial" panose="020B0604020202020204" pitchFamily="34" charset="0"/>
              </a:rPr>
              <a:t> for common tasks</a:t>
            </a:r>
          </a:p>
        </p:txBody>
      </p:sp>
      <p:sp>
        <p:nvSpPr>
          <p:cNvPr id="15" name="TextBox 14"/>
          <p:cNvSpPr txBox="1"/>
          <p:nvPr/>
        </p:nvSpPr>
        <p:spPr>
          <a:xfrm>
            <a:off x="384819" y="1713490"/>
            <a:ext cx="2756761" cy="377026"/>
          </a:xfrm>
          <a:prstGeom prst="rect">
            <a:avLst/>
          </a:prstGeom>
          <a:noFill/>
        </p:spPr>
        <p:txBody>
          <a:bodyPr wrap="square" lIns="68580" tIns="34290" rIns="68580" bIns="34290" rtlCol="0">
            <a:spAutoFit/>
          </a:bodyPr>
          <a:lstStyle/>
          <a:p>
            <a:pPr>
              <a:spcBef>
                <a:spcPts val="600"/>
              </a:spcBef>
            </a:pPr>
            <a:r>
              <a:rPr lang="en-US" sz="2000" b="1" dirty="0" smtClean="0">
                <a:cs typeface="Arial" panose="020B0604020202020204" pitchFamily="34" charset="0"/>
              </a:rPr>
              <a:t>Productive</a:t>
            </a:r>
            <a:endParaRPr lang="en-US" sz="2000" dirty="0" smtClean="0">
              <a:latin typeface="Arial Narrow"/>
              <a:cs typeface="Arial Narrow"/>
            </a:endParaRPr>
          </a:p>
        </p:txBody>
      </p:sp>
      <p:sp>
        <p:nvSpPr>
          <p:cNvPr id="16" name="Right Arrow 15"/>
          <p:cNvSpPr/>
          <p:nvPr/>
        </p:nvSpPr>
        <p:spPr>
          <a:xfrm>
            <a:off x="3391300" y="1743727"/>
            <a:ext cx="342900" cy="2476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7" name="TextBox 16"/>
          <p:cNvSpPr txBox="1"/>
          <p:nvPr/>
        </p:nvSpPr>
        <p:spPr>
          <a:xfrm>
            <a:off x="4105815" y="1706121"/>
            <a:ext cx="4927061" cy="1851276"/>
          </a:xfrm>
          <a:prstGeom prst="rect">
            <a:avLst/>
          </a:prstGeom>
          <a:noFill/>
        </p:spPr>
        <p:txBody>
          <a:bodyPr wrap="square" lIns="68580" tIns="34290" rIns="68580" bIns="34290" rtlCol="0">
            <a:spAutoFit/>
          </a:bodyPr>
          <a:lstStyle/>
          <a:p>
            <a:pPr marL="342900" indent="-342900">
              <a:lnSpc>
                <a:spcPct val="90000"/>
              </a:lnSpc>
              <a:spcBef>
                <a:spcPts val="600"/>
              </a:spcBef>
              <a:buClr>
                <a:srgbClr val="34B1EC"/>
              </a:buClr>
              <a:buFont typeface="Wingdings" charset="2"/>
              <a:buChar char="§"/>
            </a:pPr>
            <a:r>
              <a:rPr lang="en-US" sz="1400" b="1" dirty="0" smtClean="0">
                <a:solidFill>
                  <a:srgbClr val="000000"/>
                </a:solidFill>
                <a:cs typeface="Arial" panose="020B0604020202020204" pitchFamily="34" charset="0"/>
              </a:rPr>
              <a:t>Concise and expressive syntax</a:t>
            </a:r>
            <a:r>
              <a:rPr lang="en-US" sz="1400" dirty="0" smtClean="0">
                <a:solidFill>
                  <a:srgbClr val="000000"/>
                </a:solidFill>
                <a:cs typeface="Arial" panose="020B0604020202020204" pitchFamily="34" charset="0"/>
              </a:rPr>
              <a:t>, especially compared to prior approaches (up to 5x less code)</a:t>
            </a:r>
          </a:p>
          <a:p>
            <a:pPr marL="342900" indent="-342900">
              <a:lnSpc>
                <a:spcPct val="90000"/>
              </a:lnSpc>
              <a:spcBef>
                <a:spcPts val="600"/>
              </a:spcBef>
              <a:buClr>
                <a:srgbClr val="34B1EC"/>
              </a:buClr>
              <a:buFont typeface="Wingdings" charset="2"/>
              <a:buChar char="§"/>
            </a:pPr>
            <a:r>
              <a:rPr lang="en-US" sz="1400" b="1" dirty="0" smtClean="0">
                <a:solidFill>
                  <a:srgbClr val="000000"/>
                </a:solidFill>
                <a:cs typeface="Arial" panose="020B0604020202020204" pitchFamily="34" charset="0"/>
              </a:rPr>
              <a:t>Single programming model </a:t>
            </a:r>
            <a:r>
              <a:rPr lang="en-US" sz="1400" dirty="0" smtClean="0">
                <a:solidFill>
                  <a:srgbClr val="000000"/>
                </a:solidFill>
                <a:cs typeface="Arial" panose="020B0604020202020204" pitchFamily="34" charset="0"/>
              </a:rPr>
              <a:t>across a range of use cases and steps in data lifecycle</a:t>
            </a:r>
          </a:p>
          <a:p>
            <a:pPr marL="342900" indent="-342900">
              <a:lnSpc>
                <a:spcPct val="90000"/>
              </a:lnSpc>
              <a:spcBef>
                <a:spcPts val="600"/>
              </a:spcBef>
              <a:buClr>
                <a:srgbClr val="34B1EC"/>
              </a:buClr>
              <a:buFont typeface="Wingdings" charset="2"/>
              <a:buChar char="§"/>
            </a:pPr>
            <a:r>
              <a:rPr lang="en-US" sz="1400" b="1" dirty="0" smtClean="0">
                <a:solidFill>
                  <a:srgbClr val="000000"/>
                </a:solidFill>
                <a:cs typeface="Arial" panose="020B0604020202020204" pitchFamily="34" charset="0"/>
              </a:rPr>
              <a:t>Integrated with common programming languages </a:t>
            </a:r>
            <a:r>
              <a:rPr lang="en-US" sz="1400" dirty="0" smtClean="0">
                <a:solidFill>
                  <a:srgbClr val="000000"/>
                </a:solidFill>
                <a:cs typeface="Arial" panose="020B0604020202020204" pitchFamily="34" charset="0"/>
              </a:rPr>
              <a:t>– Java, Python, Scala</a:t>
            </a:r>
          </a:p>
          <a:p>
            <a:pPr marL="342900" indent="-342900">
              <a:lnSpc>
                <a:spcPct val="90000"/>
              </a:lnSpc>
              <a:spcBef>
                <a:spcPts val="600"/>
              </a:spcBef>
              <a:buClr>
                <a:srgbClr val="34B1EC"/>
              </a:buClr>
              <a:buFont typeface="Wingdings" charset="2"/>
              <a:buChar char="§"/>
            </a:pPr>
            <a:r>
              <a:rPr lang="en-US" sz="1400" b="1" dirty="0">
                <a:solidFill>
                  <a:srgbClr val="000000"/>
                </a:solidFill>
                <a:cs typeface="Arial" panose="020B0604020202020204" pitchFamily="34" charset="0"/>
              </a:rPr>
              <a:t>N</a:t>
            </a:r>
            <a:r>
              <a:rPr lang="en-US" sz="1400" b="1" dirty="0" smtClean="0">
                <a:solidFill>
                  <a:srgbClr val="000000"/>
                </a:solidFill>
                <a:cs typeface="Arial" panose="020B0604020202020204" pitchFamily="34" charset="0"/>
              </a:rPr>
              <a:t>ew tools </a:t>
            </a:r>
            <a:r>
              <a:rPr lang="en-US" sz="1400" dirty="0" smtClean="0">
                <a:solidFill>
                  <a:srgbClr val="000000"/>
                </a:solidFill>
                <a:cs typeface="Arial" panose="020B0604020202020204" pitchFamily="34" charset="0"/>
              </a:rPr>
              <a:t>continually</a:t>
            </a:r>
            <a:r>
              <a:rPr lang="en-US" sz="1400" b="1" dirty="0" smtClean="0">
                <a:solidFill>
                  <a:srgbClr val="000000"/>
                </a:solidFill>
                <a:cs typeface="Arial" panose="020B0604020202020204" pitchFamily="34" charset="0"/>
              </a:rPr>
              <a:t> </a:t>
            </a:r>
            <a:r>
              <a:rPr lang="en-US" sz="1400" dirty="0" smtClean="0">
                <a:solidFill>
                  <a:srgbClr val="000000"/>
                </a:solidFill>
                <a:cs typeface="Arial" panose="020B0604020202020204" pitchFamily="34" charset="0"/>
              </a:rPr>
              <a:t>reduce skill barrier for access (e.g. SQL for analysts)</a:t>
            </a:r>
          </a:p>
        </p:txBody>
      </p:sp>
      <p:sp>
        <p:nvSpPr>
          <p:cNvPr id="18" name="TextBox 17"/>
          <p:cNvSpPr txBox="1"/>
          <p:nvPr/>
        </p:nvSpPr>
        <p:spPr>
          <a:xfrm>
            <a:off x="384820" y="3634525"/>
            <a:ext cx="2756760" cy="684803"/>
          </a:xfrm>
          <a:prstGeom prst="rect">
            <a:avLst/>
          </a:prstGeom>
          <a:noFill/>
        </p:spPr>
        <p:txBody>
          <a:bodyPr wrap="square" lIns="68580" tIns="34290" rIns="68580" bIns="34290" rtlCol="0">
            <a:spAutoFit/>
          </a:bodyPr>
          <a:lstStyle/>
          <a:p>
            <a:pPr>
              <a:spcBef>
                <a:spcPts val="600"/>
              </a:spcBef>
            </a:pPr>
            <a:r>
              <a:rPr lang="en-US" sz="2000" b="1" dirty="0" smtClean="0">
                <a:cs typeface="Arial" panose="020B0604020202020204" pitchFamily="34" charset="0"/>
              </a:rPr>
              <a:t>Leverages existing investments</a:t>
            </a:r>
            <a:endParaRPr lang="en-US" sz="2000" dirty="0" smtClean="0">
              <a:latin typeface="Arial Narrow"/>
              <a:cs typeface="Arial Narrow"/>
            </a:endParaRPr>
          </a:p>
        </p:txBody>
      </p:sp>
      <p:sp>
        <p:nvSpPr>
          <p:cNvPr id="19" name="Right Arrow 18"/>
          <p:cNvSpPr/>
          <p:nvPr/>
        </p:nvSpPr>
        <p:spPr>
          <a:xfrm>
            <a:off x="3391300" y="3664763"/>
            <a:ext cx="342900" cy="2476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0" name="TextBox 19"/>
          <p:cNvSpPr txBox="1"/>
          <p:nvPr/>
        </p:nvSpPr>
        <p:spPr>
          <a:xfrm>
            <a:off x="4105815" y="3627157"/>
            <a:ext cx="4704810" cy="263149"/>
          </a:xfrm>
          <a:prstGeom prst="rect">
            <a:avLst/>
          </a:prstGeom>
          <a:noFill/>
        </p:spPr>
        <p:txBody>
          <a:bodyPr wrap="square" lIns="68580" tIns="34290" rIns="68580" bIns="34290" rtlCol="0">
            <a:spAutoFit/>
          </a:bodyPr>
          <a:lstStyle/>
          <a:p>
            <a:pPr marL="342900" indent="-342900">
              <a:lnSpc>
                <a:spcPct val="90000"/>
              </a:lnSpc>
              <a:spcBef>
                <a:spcPts val="600"/>
              </a:spcBef>
              <a:buClr>
                <a:srgbClr val="34B1EC"/>
              </a:buClr>
              <a:buFont typeface="Wingdings" charset="2"/>
              <a:buChar char="§"/>
            </a:pPr>
            <a:r>
              <a:rPr lang="en-US" sz="1400" dirty="0" smtClean="0">
                <a:solidFill>
                  <a:srgbClr val="000000"/>
                </a:solidFill>
                <a:cs typeface="Arial" panose="020B0604020202020204" pitchFamily="34" charset="0"/>
              </a:rPr>
              <a:t>Works well within </a:t>
            </a:r>
            <a:r>
              <a:rPr lang="en-US" sz="1400" b="1" dirty="0" smtClean="0">
                <a:solidFill>
                  <a:srgbClr val="000000"/>
                </a:solidFill>
                <a:cs typeface="Arial" panose="020B0604020202020204" pitchFamily="34" charset="0"/>
              </a:rPr>
              <a:t>existing Hadoop ecosystem</a:t>
            </a:r>
          </a:p>
        </p:txBody>
      </p:sp>
      <p:sp>
        <p:nvSpPr>
          <p:cNvPr id="21" name="TextBox 20"/>
          <p:cNvSpPr txBox="1"/>
          <p:nvPr/>
        </p:nvSpPr>
        <p:spPr>
          <a:xfrm>
            <a:off x="384820" y="4256160"/>
            <a:ext cx="2756760" cy="377026"/>
          </a:xfrm>
          <a:prstGeom prst="rect">
            <a:avLst/>
          </a:prstGeom>
          <a:noFill/>
        </p:spPr>
        <p:txBody>
          <a:bodyPr wrap="square" lIns="68580" tIns="34290" rIns="68580" bIns="34290" rtlCol="0">
            <a:spAutoFit/>
          </a:bodyPr>
          <a:lstStyle/>
          <a:p>
            <a:pPr>
              <a:spcBef>
                <a:spcPts val="600"/>
              </a:spcBef>
            </a:pPr>
            <a:r>
              <a:rPr lang="en-US" sz="2000" b="1" dirty="0" smtClean="0">
                <a:cs typeface="Arial" panose="020B0604020202020204" pitchFamily="34" charset="0"/>
              </a:rPr>
              <a:t>Improves with age</a:t>
            </a:r>
            <a:endParaRPr lang="en-US" sz="2000" dirty="0" smtClean="0">
              <a:latin typeface="Arial Narrow"/>
              <a:cs typeface="Arial Narrow"/>
            </a:endParaRPr>
          </a:p>
        </p:txBody>
      </p:sp>
      <p:sp>
        <p:nvSpPr>
          <p:cNvPr id="22" name="Right Arrow 21"/>
          <p:cNvSpPr/>
          <p:nvPr/>
        </p:nvSpPr>
        <p:spPr>
          <a:xfrm>
            <a:off x="3391300" y="4286397"/>
            <a:ext cx="342900" cy="24765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3" name="TextBox 22"/>
          <p:cNvSpPr txBox="1"/>
          <p:nvPr/>
        </p:nvSpPr>
        <p:spPr>
          <a:xfrm>
            <a:off x="4105815" y="4248792"/>
            <a:ext cx="4704810" cy="650947"/>
          </a:xfrm>
          <a:prstGeom prst="rect">
            <a:avLst/>
          </a:prstGeom>
          <a:noFill/>
        </p:spPr>
        <p:txBody>
          <a:bodyPr wrap="square" lIns="68580" tIns="34290" rIns="68580" bIns="34290" rtlCol="0">
            <a:spAutoFit/>
          </a:bodyPr>
          <a:lstStyle/>
          <a:p>
            <a:pPr marL="342900" indent="-342900">
              <a:lnSpc>
                <a:spcPct val="90000"/>
              </a:lnSpc>
              <a:spcBef>
                <a:spcPts val="600"/>
              </a:spcBef>
              <a:buClr>
                <a:srgbClr val="34B1EC"/>
              </a:buClr>
              <a:buFont typeface="Wingdings" charset="2"/>
              <a:buChar char="§"/>
            </a:pPr>
            <a:r>
              <a:rPr lang="en-US" sz="1400" b="1" dirty="0" smtClean="0">
                <a:solidFill>
                  <a:srgbClr val="000000"/>
                </a:solidFill>
                <a:cs typeface="Arial" panose="020B0604020202020204" pitchFamily="34" charset="0"/>
              </a:rPr>
              <a:t>Large and growing community </a:t>
            </a:r>
            <a:r>
              <a:rPr lang="en-US" sz="1400" dirty="0" smtClean="0">
                <a:solidFill>
                  <a:srgbClr val="000000"/>
                </a:solidFill>
                <a:cs typeface="Arial" panose="020B0604020202020204" pitchFamily="34" charset="0"/>
              </a:rPr>
              <a:t>of contributors continuously improve full analytics stack and extend capabilities</a:t>
            </a:r>
          </a:p>
        </p:txBody>
      </p:sp>
      <p:sp>
        <p:nvSpPr>
          <p:cNvPr id="24" name="Line 20"/>
          <p:cNvSpPr>
            <a:spLocks noChangeShapeType="1"/>
          </p:cNvSpPr>
          <p:nvPr>
            <p:custDataLst>
              <p:tags r:id="rId3"/>
            </p:custDataLst>
          </p:nvPr>
        </p:nvSpPr>
        <p:spPr bwMode="gray">
          <a:xfrm>
            <a:off x="4105816" y="1638314"/>
            <a:ext cx="4769291"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25" name="Line 20"/>
          <p:cNvSpPr>
            <a:spLocks noChangeShapeType="1"/>
          </p:cNvSpPr>
          <p:nvPr>
            <p:custDataLst>
              <p:tags r:id="rId4"/>
            </p:custDataLst>
          </p:nvPr>
        </p:nvSpPr>
        <p:spPr bwMode="gray">
          <a:xfrm>
            <a:off x="4105816" y="3570638"/>
            <a:ext cx="4769291"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
        <p:nvSpPr>
          <p:cNvPr id="26" name="Line 20"/>
          <p:cNvSpPr>
            <a:spLocks noChangeShapeType="1"/>
          </p:cNvSpPr>
          <p:nvPr>
            <p:custDataLst>
              <p:tags r:id="rId5"/>
            </p:custDataLst>
          </p:nvPr>
        </p:nvSpPr>
        <p:spPr bwMode="gray">
          <a:xfrm>
            <a:off x="4105816" y="4228739"/>
            <a:ext cx="4769291" cy="0"/>
          </a:xfrm>
          <a:prstGeom prst="line">
            <a:avLst/>
          </a:prstGeom>
          <a:noFill/>
          <a:ln w="9525">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lstStyle/>
          <a:p>
            <a:endParaRPr lang="en-US"/>
          </a:p>
        </p:txBody>
      </p:sp>
    </p:spTree>
    <p:extLst>
      <p:ext uri="{BB962C8B-B14F-4D97-AF65-F5344CB8AC3E}">
        <p14:creationId xmlns:p14="http://schemas.microsoft.com/office/powerpoint/2010/main" val="3070206288"/>
      </p:ext>
    </p:extLst>
  </p:cSld>
  <p:clrMapOvr>
    <a:masterClrMapping/>
  </p:clrMapOvr>
  <p:transition spd="med"/>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1458240" y="2240948"/>
            <a:ext cx="2588290" cy="2570547"/>
          </a:xfrm>
          <a:prstGeom prst="ellipse">
            <a:avLst/>
          </a:prstGeom>
          <a:solidFill>
            <a:schemeClr val="bg1"/>
          </a:solid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rgbClr val="FFFFFF"/>
              </a:solidFill>
            </a:endParaRPr>
          </a:p>
        </p:txBody>
      </p:sp>
      <p:sp>
        <p:nvSpPr>
          <p:cNvPr id="14" name="Oval 13"/>
          <p:cNvSpPr/>
          <p:nvPr/>
        </p:nvSpPr>
        <p:spPr>
          <a:xfrm>
            <a:off x="5194049" y="2240948"/>
            <a:ext cx="2588290" cy="2570547"/>
          </a:xfrm>
          <a:prstGeom prst="ellipse">
            <a:avLst/>
          </a:prstGeom>
          <a:solidFill>
            <a:schemeClr val="bg1"/>
          </a:solid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rgbClr val="FFFFFF"/>
              </a:solidFill>
            </a:endParaRPr>
          </a:p>
        </p:txBody>
      </p:sp>
      <p:sp>
        <p:nvSpPr>
          <p:cNvPr id="4" name="Title 3"/>
          <p:cNvSpPr>
            <a:spLocks noGrp="1"/>
          </p:cNvSpPr>
          <p:nvPr>
            <p:ph type="title"/>
          </p:nvPr>
        </p:nvSpPr>
        <p:spPr/>
        <p:txBody>
          <a:bodyPr/>
          <a:lstStyle/>
          <a:p>
            <a:r>
              <a:rPr lang="en-US" dirty="0" smtClean="0">
                <a:latin typeface="Helvetica"/>
                <a:sym typeface="Helvetica"/>
              </a:rPr>
              <a:t>IBM is all-in on its commitment to Spark</a:t>
            </a:r>
            <a:endParaRPr lang="en-AU" dirty="0"/>
          </a:p>
        </p:txBody>
      </p:sp>
      <p:sp>
        <p:nvSpPr>
          <p:cNvPr id="6" name="TextBox 5"/>
          <p:cNvSpPr txBox="1"/>
          <p:nvPr/>
        </p:nvSpPr>
        <p:spPr>
          <a:xfrm>
            <a:off x="1942503" y="2402956"/>
            <a:ext cx="1513681" cy="584775"/>
          </a:xfrm>
          <a:prstGeom prst="rect">
            <a:avLst/>
          </a:prstGeom>
          <a:noFill/>
        </p:spPr>
        <p:txBody>
          <a:bodyPr wrap="square" rtlCol="0">
            <a:spAutoFit/>
          </a:bodyPr>
          <a:lstStyle/>
          <a:p>
            <a:pPr algn="ctr"/>
            <a:r>
              <a:rPr lang="en-US" sz="1600" b="1" dirty="0">
                <a:solidFill>
                  <a:srgbClr val="5A5C5E"/>
                </a:solidFill>
                <a:latin typeface="HelvNeue for IBM Light"/>
                <a:cs typeface="HelvNeue for IBM Light"/>
              </a:rPr>
              <a:t>Foster Community</a:t>
            </a:r>
          </a:p>
        </p:txBody>
      </p:sp>
      <p:sp>
        <p:nvSpPr>
          <p:cNvPr id="7" name="Content Placeholder 7"/>
          <p:cNvSpPr txBox="1">
            <a:spLocks/>
          </p:cNvSpPr>
          <p:nvPr/>
        </p:nvSpPr>
        <p:spPr>
          <a:xfrm>
            <a:off x="1730069" y="3050951"/>
            <a:ext cx="2037910" cy="1642508"/>
          </a:xfrm>
          <a:prstGeom prst="rect">
            <a:avLst/>
          </a:prstGeom>
        </p:spPr>
        <p:txBody>
          <a:bodyPr vert="horz" lIns="217728" tIns="108864" rIns="217728" bIns="108864" rtlCol="0">
            <a:noAutofit/>
          </a:bodyPr>
          <a:lstStyle>
            <a:lvl1pPr marL="0" indent="0" algn="l" defTabSz="1088639" rtl="0" eaLnBrk="1" latinLnBrk="0" hangingPunct="1">
              <a:lnSpc>
                <a:spcPct val="150000"/>
              </a:lnSpc>
              <a:spcBef>
                <a:spcPct val="20000"/>
              </a:spcBef>
              <a:buFontTx/>
              <a:buNone/>
              <a:defRPr lang="en-US" sz="2600" b="0" i="0" kern="1200" dirty="0" smtClean="0">
                <a:solidFill>
                  <a:srgbClr val="5A5C5E"/>
                </a:solidFill>
                <a:latin typeface="HelvNeue for IBM Light"/>
                <a:ea typeface="+mn-ea"/>
                <a:cs typeface="HelvNeue for IBM Light"/>
              </a:defRPr>
            </a:lvl1pPr>
            <a:lvl2pPr marL="258763" indent="-249238" algn="l" defTabSz="1088639" rtl="0" eaLnBrk="1" latinLnBrk="0" hangingPunct="1">
              <a:lnSpc>
                <a:spcPct val="150000"/>
              </a:lnSpc>
              <a:spcBef>
                <a:spcPct val="20000"/>
              </a:spcBef>
              <a:buClr>
                <a:srgbClr val="E52C2C"/>
              </a:buClr>
              <a:buSzPct val="100000"/>
              <a:buFont typeface="Lucida Grande"/>
              <a:buChar char="•"/>
              <a:defRPr lang="en-US" sz="2600" b="1" i="0" kern="1200">
                <a:solidFill>
                  <a:srgbClr val="5A5C5E"/>
                </a:solidFill>
                <a:latin typeface="HelvNeue for IBM"/>
                <a:ea typeface="+mn-ea"/>
                <a:cs typeface="HelvNeue for IBM"/>
              </a:defRPr>
            </a:lvl2pPr>
            <a:lvl3pPr marL="477838" indent="-209550" algn="l" defTabSz="1088639" rtl="0" eaLnBrk="1" latinLnBrk="0" hangingPunct="1">
              <a:lnSpc>
                <a:spcPct val="150000"/>
              </a:lnSpc>
              <a:spcBef>
                <a:spcPct val="20000"/>
              </a:spcBef>
              <a:buClr>
                <a:srgbClr val="E52C2C"/>
              </a:buClr>
              <a:buFont typeface="Lucida Grande"/>
              <a:buChar char="–"/>
              <a:defRPr lang="en-US" sz="2600" b="1" i="0" kern="1200">
                <a:solidFill>
                  <a:srgbClr val="5A5C5E"/>
                </a:solidFill>
                <a:latin typeface="HelvNeue for IBM"/>
                <a:ea typeface="+mn-ea"/>
                <a:cs typeface="HelvNeue for IBM"/>
              </a:defRPr>
            </a:lvl3pPr>
            <a:lvl4pPr marL="679450" indent="-144463" algn="l" defTabSz="1088639" rtl="0" eaLnBrk="1" latinLnBrk="0" hangingPunct="1">
              <a:lnSpc>
                <a:spcPct val="150000"/>
              </a:lnSpc>
              <a:spcBef>
                <a:spcPct val="20000"/>
              </a:spcBef>
              <a:buClr>
                <a:srgbClr val="E52C2C"/>
              </a:buClr>
              <a:buFont typeface="Arial"/>
              <a:buChar char="•"/>
              <a:defRPr lang="en-US" sz="2600" b="1" i="0" kern="1200">
                <a:solidFill>
                  <a:srgbClr val="5A5C5E"/>
                </a:solidFill>
                <a:latin typeface="HelvNeue for IBM"/>
                <a:ea typeface="+mn-ea"/>
                <a:cs typeface="HelvNeue for IBM"/>
              </a:defRPr>
            </a:lvl4pPr>
            <a:lvl5pPr marL="4354556" indent="0" algn="l" defTabSz="1088639" rtl="0" eaLnBrk="1" latinLnBrk="0" hangingPunct="1">
              <a:spcBef>
                <a:spcPct val="20000"/>
              </a:spcBef>
              <a:buFontTx/>
              <a:buNone/>
              <a:defRPr lang="en-US" sz="2600" b="1" i="0" kern="1200">
                <a:solidFill>
                  <a:srgbClr val="5A5C5E"/>
                </a:solidFill>
                <a:latin typeface="HelvNeue for IBM"/>
                <a:ea typeface="+mn-ea"/>
                <a:cs typeface="HelvNeue for IBM"/>
              </a:defRPr>
            </a:lvl5pPr>
            <a:lvl6pPr marL="5987514" indent="-544319" algn="l" defTabSz="1088639" rtl="0" eaLnBrk="1" latinLnBrk="0" hangingPunct="1">
              <a:spcBef>
                <a:spcPct val="20000"/>
              </a:spcBef>
              <a:buFont typeface="Arial"/>
              <a:buChar char="•"/>
              <a:defRPr sz="4800" kern="1200">
                <a:solidFill>
                  <a:schemeClr val="tx1"/>
                </a:solidFill>
                <a:latin typeface="+mn-lt"/>
                <a:ea typeface="+mn-ea"/>
                <a:cs typeface="+mn-cs"/>
              </a:defRPr>
            </a:lvl6pPr>
            <a:lvl7pPr marL="7076153" indent="-544319" algn="l" defTabSz="1088639" rtl="0" eaLnBrk="1" latinLnBrk="0" hangingPunct="1">
              <a:spcBef>
                <a:spcPct val="20000"/>
              </a:spcBef>
              <a:buFont typeface="Arial"/>
              <a:buChar char="•"/>
              <a:defRPr sz="4800" kern="1200">
                <a:solidFill>
                  <a:schemeClr val="tx1"/>
                </a:solidFill>
                <a:latin typeface="+mn-lt"/>
                <a:ea typeface="+mn-ea"/>
                <a:cs typeface="+mn-cs"/>
              </a:defRPr>
            </a:lvl7pPr>
            <a:lvl8pPr marL="8164792" indent="-544319" algn="l" defTabSz="1088639" rtl="0" eaLnBrk="1" latinLnBrk="0" hangingPunct="1">
              <a:spcBef>
                <a:spcPct val="20000"/>
              </a:spcBef>
              <a:buFont typeface="Arial"/>
              <a:buChar char="•"/>
              <a:defRPr sz="4800" kern="1200">
                <a:solidFill>
                  <a:schemeClr val="tx1"/>
                </a:solidFill>
                <a:latin typeface="+mn-lt"/>
                <a:ea typeface="+mn-ea"/>
                <a:cs typeface="+mn-cs"/>
              </a:defRPr>
            </a:lvl8pPr>
            <a:lvl9pPr marL="9253431" indent="-544319" algn="l" defTabSz="1088639" rtl="0" eaLnBrk="1" latinLnBrk="0" hangingPunct="1">
              <a:spcBef>
                <a:spcPct val="20000"/>
              </a:spcBef>
              <a:buFont typeface="Arial"/>
              <a:buChar char="•"/>
              <a:defRPr sz="4800" kern="1200">
                <a:solidFill>
                  <a:schemeClr val="tx1"/>
                </a:solidFill>
                <a:latin typeface="+mn-lt"/>
                <a:ea typeface="+mn-ea"/>
                <a:cs typeface="+mn-cs"/>
              </a:defRPr>
            </a:lvl9pPr>
          </a:lstStyle>
          <a:p>
            <a:pPr algn="ctr">
              <a:lnSpc>
                <a:spcPct val="90000"/>
              </a:lnSpc>
              <a:spcBef>
                <a:spcPts val="1680"/>
              </a:spcBef>
            </a:pPr>
            <a:r>
              <a:rPr sz="1200">
                <a:solidFill>
                  <a:srgbClr val="000000"/>
                </a:solidFill>
              </a:rPr>
              <a:t>Educate 1M+ data scientists and engineers via online courses</a:t>
            </a:r>
          </a:p>
          <a:p>
            <a:pPr algn="ctr">
              <a:lnSpc>
                <a:spcPct val="90000"/>
              </a:lnSpc>
              <a:spcBef>
                <a:spcPts val="1680"/>
              </a:spcBef>
            </a:pPr>
            <a:r>
              <a:rPr sz="1200">
                <a:solidFill>
                  <a:srgbClr val="000000"/>
                </a:solidFill>
              </a:rPr>
              <a:t>Sponsor </a:t>
            </a:r>
            <a:r>
              <a:rPr sz="1200" err="1">
                <a:solidFill>
                  <a:srgbClr val="000000"/>
                </a:solidFill>
              </a:rPr>
              <a:t>AMPLab</a:t>
            </a:r>
            <a:r>
              <a:rPr sz="1200">
                <a:solidFill>
                  <a:srgbClr val="000000"/>
                </a:solidFill>
              </a:rPr>
              <a:t>, creators and evangelists of Spark</a:t>
            </a:r>
            <a:endParaRPr sz="1200"/>
          </a:p>
        </p:txBody>
      </p:sp>
      <p:cxnSp>
        <p:nvCxnSpPr>
          <p:cNvPr id="8" name="Straight Connector 7"/>
          <p:cNvCxnSpPr/>
          <p:nvPr/>
        </p:nvCxnSpPr>
        <p:spPr>
          <a:xfrm>
            <a:off x="1977252" y="2985324"/>
            <a:ext cx="155688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684042" y="2347279"/>
            <a:ext cx="1551673" cy="584775"/>
          </a:xfrm>
          <a:prstGeom prst="rect">
            <a:avLst/>
          </a:prstGeom>
          <a:noFill/>
        </p:spPr>
        <p:txBody>
          <a:bodyPr wrap="square" rtlCol="0">
            <a:spAutoFit/>
          </a:bodyPr>
          <a:lstStyle/>
          <a:p>
            <a:pPr algn="ctr"/>
            <a:r>
              <a:rPr lang="en-US" sz="1600" b="1" dirty="0" smtClean="0">
                <a:solidFill>
                  <a:srgbClr val="5A5C5E"/>
                </a:solidFill>
                <a:latin typeface="HelvNeue for IBM Light"/>
                <a:cs typeface="HelvNeue for IBM Light"/>
              </a:rPr>
              <a:t>Infuse the Portfolio</a:t>
            </a:r>
          </a:p>
        </p:txBody>
      </p:sp>
      <p:cxnSp>
        <p:nvCxnSpPr>
          <p:cNvPr id="10" name="Straight Connector 9"/>
          <p:cNvCxnSpPr/>
          <p:nvPr/>
        </p:nvCxnSpPr>
        <p:spPr>
          <a:xfrm>
            <a:off x="5689970" y="2929647"/>
            <a:ext cx="155688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txBox="1">
            <a:spLocks/>
          </p:cNvSpPr>
          <p:nvPr/>
        </p:nvSpPr>
        <p:spPr>
          <a:xfrm>
            <a:off x="5347252" y="2928460"/>
            <a:ext cx="2305878" cy="1642508"/>
          </a:xfrm>
          <a:prstGeom prst="rect">
            <a:avLst/>
          </a:prstGeom>
        </p:spPr>
        <p:txBody>
          <a:bodyPr vert="horz" lIns="217728" tIns="108864" rIns="217728" bIns="108864" rtlCol="0">
            <a:noAutofit/>
          </a:bodyPr>
          <a:lstStyle>
            <a:lvl1pPr marL="0" indent="0" algn="l" defTabSz="1088639" rtl="0" eaLnBrk="1" latinLnBrk="0" hangingPunct="1">
              <a:lnSpc>
                <a:spcPct val="150000"/>
              </a:lnSpc>
              <a:spcBef>
                <a:spcPct val="20000"/>
              </a:spcBef>
              <a:buFontTx/>
              <a:buNone/>
              <a:defRPr lang="en-US" sz="2600" b="0" i="0" kern="1200" dirty="0" smtClean="0">
                <a:solidFill>
                  <a:srgbClr val="5A5C5E"/>
                </a:solidFill>
                <a:latin typeface="HelvNeue for IBM Light"/>
                <a:ea typeface="+mn-ea"/>
                <a:cs typeface="HelvNeue for IBM Light"/>
              </a:defRPr>
            </a:lvl1pPr>
            <a:lvl2pPr marL="258763" indent="-249238" algn="l" defTabSz="1088639" rtl="0" eaLnBrk="1" latinLnBrk="0" hangingPunct="1">
              <a:lnSpc>
                <a:spcPct val="150000"/>
              </a:lnSpc>
              <a:spcBef>
                <a:spcPct val="20000"/>
              </a:spcBef>
              <a:buClr>
                <a:srgbClr val="E52C2C"/>
              </a:buClr>
              <a:buSzPct val="100000"/>
              <a:buFont typeface="Lucida Grande"/>
              <a:buChar char="•"/>
              <a:defRPr lang="en-US" sz="2600" b="1" i="0" kern="1200">
                <a:solidFill>
                  <a:srgbClr val="5A5C5E"/>
                </a:solidFill>
                <a:latin typeface="HelvNeue for IBM"/>
                <a:ea typeface="+mn-ea"/>
                <a:cs typeface="HelvNeue for IBM"/>
              </a:defRPr>
            </a:lvl2pPr>
            <a:lvl3pPr marL="477838" indent="-209550" algn="l" defTabSz="1088639" rtl="0" eaLnBrk="1" latinLnBrk="0" hangingPunct="1">
              <a:lnSpc>
                <a:spcPct val="150000"/>
              </a:lnSpc>
              <a:spcBef>
                <a:spcPct val="20000"/>
              </a:spcBef>
              <a:buClr>
                <a:srgbClr val="E52C2C"/>
              </a:buClr>
              <a:buFont typeface="Lucida Grande"/>
              <a:buChar char="–"/>
              <a:defRPr lang="en-US" sz="2600" b="1" i="0" kern="1200">
                <a:solidFill>
                  <a:srgbClr val="5A5C5E"/>
                </a:solidFill>
                <a:latin typeface="HelvNeue for IBM"/>
                <a:ea typeface="+mn-ea"/>
                <a:cs typeface="HelvNeue for IBM"/>
              </a:defRPr>
            </a:lvl3pPr>
            <a:lvl4pPr marL="679450" indent="-144463" algn="l" defTabSz="1088639" rtl="0" eaLnBrk="1" latinLnBrk="0" hangingPunct="1">
              <a:lnSpc>
                <a:spcPct val="150000"/>
              </a:lnSpc>
              <a:spcBef>
                <a:spcPct val="20000"/>
              </a:spcBef>
              <a:buClr>
                <a:srgbClr val="E52C2C"/>
              </a:buClr>
              <a:buFont typeface="Arial"/>
              <a:buChar char="•"/>
              <a:defRPr lang="en-US" sz="2600" b="1" i="0" kern="1200">
                <a:solidFill>
                  <a:srgbClr val="5A5C5E"/>
                </a:solidFill>
                <a:latin typeface="HelvNeue for IBM"/>
                <a:ea typeface="+mn-ea"/>
                <a:cs typeface="HelvNeue for IBM"/>
              </a:defRPr>
            </a:lvl4pPr>
            <a:lvl5pPr marL="4354556" indent="0" algn="l" defTabSz="1088639" rtl="0" eaLnBrk="1" latinLnBrk="0" hangingPunct="1">
              <a:spcBef>
                <a:spcPct val="20000"/>
              </a:spcBef>
              <a:buFontTx/>
              <a:buNone/>
              <a:defRPr lang="en-US" sz="2600" b="1" i="0" kern="1200">
                <a:solidFill>
                  <a:srgbClr val="5A5C5E"/>
                </a:solidFill>
                <a:latin typeface="HelvNeue for IBM"/>
                <a:ea typeface="+mn-ea"/>
                <a:cs typeface="HelvNeue for IBM"/>
              </a:defRPr>
            </a:lvl5pPr>
            <a:lvl6pPr marL="5987514" indent="-544319" algn="l" defTabSz="1088639" rtl="0" eaLnBrk="1" latinLnBrk="0" hangingPunct="1">
              <a:spcBef>
                <a:spcPct val="20000"/>
              </a:spcBef>
              <a:buFont typeface="Arial"/>
              <a:buChar char="•"/>
              <a:defRPr sz="4800" kern="1200">
                <a:solidFill>
                  <a:schemeClr val="tx1"/>
                </a:solidFill>
                <a:latin typeface="+mn-lt"/>
                <a:ea typeface="+mn-ea"/>
                <a:cs typeface="+mn-cs"/>
              </a:defRPr>
            </a:lvl6pPr>
            <a:lvl7pPr marL="7076153" indent="-544319" algn="l" defTabSz="1088639" rtl="0" eaLnBrk="1" latinLnBrk="0" hangingPunct="1">
              <a:spcBef>
                <a:spcPct val="20000"/>
              </a:spcBef>
              <a:buFont typeface="Arial"/>
              <a:buChar char="•"/>
              <a:defRPr sz="4800" kern="1200">
                <a:solidFill>
                  <a:schemeClr val="tx1"/>
                </a:solidFill>
                <a:latin typeface="+mn-lt"/>
                <a:ea typeface="+mn-ea"/>
                <a:cs typeface="+mn-cs"/>
              </a:defRPr>
            </a:lvl7pPr>
            <a:lvl8pPr marL="8164792" indent="-544319" algn="l" defTabSz="1088639" rtl="0" eaLnBrk="1" latinLnBrk="0" hangingPunct="1">
              <a:spcBef>
                <a:spcPct val="20000"/>
              </a:spcBef>
              <a:buFont typeface="Arial"/>
              <a:buChar char="•"/>
              <a:defRPr sz="4800" kern="1200">
                <a:solidFill>
                  <a:schemeClr val="tx1"/>
                </a:solidFill>
                <a:latin typeface="+mn-lt"/>
                <a:ea typeface="+mn-ea"/>
                <a:cs typeface="+mn-cs"/>
              </a:defRPr>
            </a:lvl8pPr>
            <a:lvl9pPr marL="9253431" indent="-544319" algn="l" defTabSz="1088639" rtl="0" eaLnBrk="1" latinLnBrk="0" hangingPunct="1">
              <a:spcBef>
                <a:spcPct val="20000"/>
              </a:spcBef>
              <a:buFont typeface="Arial"/>
              <a:buChar char="•"/>
              <a:defRPr sz="4800" kern="1200">
                <a:solidFill>
                  <a:schemeClr val="tx1"/>
                </a:solidFill>
                <a:latin typeface="+mn-lt"/>
                <a:ea typeface="+mn-ea"/>
                <a:cs typeface="+mn-cs"/>
              </a:defRPr>
            </a:lvl9pPr>
          </a:lstStyle>
          <a:p>
            <a:pPr algn="ctr">
              <a:lnSpc>
                <a:spcPct val="90000"/>
              </a:lnSpc>
              <a:spcBef>
                <a:spcPts val="1680"/>
              </a:spcBef>
            </a:pPr>
            <a:r>
              <a:rPr sz="1200">
                <a:solidFill>
                  <a:srgbClr val="000000"/>
                </a:solidFill>
              </a:rPr>
              <a:t>Integrate Spark</a:t>
            </a:r>
            <a:br>
              <a:rPr sz="1200">
                <a:solidFill>
                  <a:srgbClr val="000000"/>
                </a:solidFill>
              </a:rPr>
            </a:br>
            <a:r>
              <a:rPr sz="1200">
                <a:solidFill>
                  <a:srgbClr val="000000"/>
                </a:solidFill>
              </a:rPr>
              <a:t> throughout portfolio</a:t>
            </a:r>
          </a:p>
          <a:p>
            <a:pPr algn="ctr">
              <a:lnSpc>
                <a:spcPct val="90000"/>
              </a:lnSpc>
              <a:spcBef>
                <a:spcPts val="1680"/>
              </a:spcBef>
            </a:pPr>
            <a:r>
              <a:rPr sz="1200">
                <a:solidFill>
                  <a:srgbClr val="000000"/>
                </a:solidFill>
              </a:rPr>
              <a:t>3,500 employees working on Spark-related topics</a:t>
            </a:r>
          </a:p>
          <a:p>
            <a:pPr algn="ctr">
              <a:lnSpc>
                <a:spcPct val="90000"/>
              </a:lnSpc>
              <a:spcBef>
                <a:spcPts val="1680"/>
              </a:spcBef>
            </a:pPr>
            <a:r>
              <a:rPr sz="1200">
                <a:solidFill>
                  <a:srgbClr val="000000"/>
                </a:solidFill>
              </a:rPr>
              <a:t>Spark however customers want it – standalone, platform or products</a:t>
            </a:r>
            <a:endParaRPr sz="1200"/>
          </a:p>
        </p:txBody>
      </p:sp>
      <p:sp>
        <p:nvSpPr>
          <p:cNvPr id="15" name="Oval 14"/>
          <p:cNvSpPr/>
          <p:nvPr/>
        </p:nvSpPr>
        <p:spPr>
          <a:xfrm>
            <a:off x="3351117" y="931409"/>
            <a:ext cx="2588290" cy="2570547"/>
          </a:xfrm>
          <a:prstGeom prst="ellipse">
            <a:avLst/>
          </a:prstGeom>
          <a:solidFill>
            <a:schemeClr val="bg1"/>
          </a:solidFill>
          <a:ln w="50800">
            <a:solidFill>
              <a:schemeClr val="accent5">
                <a:lumMod val="9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srgbClr val="FFFFFF"/>
              </a:solidFill>
            </a:endParaRPr>
          </a:p>
        </p:txBody>
      </p:sp>
      <p:sp>
        <p:nvSpPr>
          <p:cNvPr id="16" name="Content Placeholder 7"/>
          <p:cNvSpPr txBox="1">
            <a:spLocks/>
          </p:cNvSpPr>
          <p:nvPr/>
        </p:nvSpPr>
        <p:spPr>
          <a:xfrm>
            <a:off x="3654658" y="1748093"/>
            <a:ext cx="1968499" cy="1642508"/>
          </a:xfrm>
          <a:prstGeom prst="rect">
            <a:avLst/>
          </a:prstGeom>
        </p:spPr>
        <p:txBody>
          <a:bodyPr vert="horz" lIns="217728" tIns="108864" rIns="217728" bIns="108864" rtlCol="0">
            <a:noAutofit/>
          </a:bodyPr>
          <a:lstStyle>
            <a:lvl1pPr marL="0" indent="0" algn="l" defTabSz="1088639" rtl="0" eaLnBrk="1" latinLnBrk="0" hangingPunct="1">
              <a:lnSpc>
                <a:spcPct val="150000"/>
              </a:lnSpc>
              <a:spcBef>
                <a:spcPct val="20000"/>
              </a:spcBef>
              <a:buFontTx/>
              <a:buNone/>
              <a:defRPr lang="en-US" sz="2600" b="0" i="0" kern="1200" dirty="0" smtClean="0">
                <a:solidFill>
                  <a:srgbClr val="5A5C5E"/>
                </a:solidFill>
                <a:latin typeface="HelvNeue for IBM Light"/>
                <a:ea typeface="+mn-ea"/>
                <a:cs typeface="HelvNeue for IBM Light"/>
              </a:defRPr>
            </a:lvl1pPr>
            <a:lvl2pPr marL="258763" indent="-249238" algn="l" defTabSz="1088639" rtl="0" eaLnBrk="1" latinLnBrk="0" hangingPunct="1">
              <a:lnSpc>
                <a:spcPct val="150000"/>
              </a:lnSpc>
              <a:spcBef>
                <a:spcPct val="20000"/>
              </a:spcBef>
              <a:buClr>
                <a:srgbClr val="E52C2C"/>
              </a:buClr>
              <a:buSzPct val="100000"/>
              <a:buFont typeface="Lucida Grande"/>
              <a:buChar char="•"/>
              <a:defRPr lang="en-US" sz="2600" b="1" i="0" kern="1200">
                <a:solidFill>
                  <a:srgbClr val="5A5C5E"/>
                </a:solidFill>
                <a:latin typeface="HelvNeue for IBM"/>
                <a:ea typeface="+mn-ea"/>
                <a:cs typeface="HelvNeue for IBM"/>
              </a:defRPr>
            </a:lvl2pPr>
            <a:lvl3pPr marL="477838" indent="-209550" algn="l" defTabSz="1088639" rtl="0" eaLnBrk="1" latinLnBrk="0" hangingPunct="1">
              <a:lnSpc>
                <a:spcPct val="150000"/>
              </a:lnSpc>
              <a:spcBef>
                <a:spcPct val="20000"/>
              </a:spcBef>
              <a:buClr>
                <a:srgbClr val="E52C2C"/>
              </a:buClr>
              <a:buFont typeface="Lucida Grande"/>
              <a:buChar char="–"/>
              <a:defRPr lang="en-US" sz="2600" b="1" i="0" kern="1200">
                <a:solidFill>
                  <a:srgbClr val="5A5C5E"/>
                </a:solidFill>
                <a:latin typeface="HelvNeue for IBM"/>
                <a:ea typeface="+mn-ea"/>
                <a:cs typeface="HelvNeue for IBM"/>
              </a:defRPr>
            </a:lvl3pPr>
            <a:lvl4pPr marL="679450" indent="-144463" algn="l" defTabSz="1088639" rtl="0" eaLnBrk="1" latinLnBrk="0" hangingPunct="1">
              <a:lnSpc>
                <a:spcPct val="150000"/>
              </a:lnSpc>
              <a:spcBef>
                <a:spcPct val="20000"/>
              </a:spcBef>
              <a:buClr>
                <a:srgbClr val="E52C2C"/>
              </a:buClr>
              <a:buFont typeface="Arial"/>
              <a:buChar char="•"/>
              <a:defRPr lang="en-US" sz="2600" b="1" i="0" kern="1200">
                <a:solidFill>
                  <a:srgbClr val="5A5C5E"/>
                </a:solidFill>
                <a:latin typeface="HelvNeue for IBM"/>
                <a:ea typeface="+mn-ea"/>
                <a:cs typeface="HelvNeue for IBM"/>
              </a:defRPr>
            </a:lvl4pPr>
            <a:lvl5pPr marL="4354556" indent="0" algn="l" defTabSz="1088639" rtl="0" eaLnBrk="1" latinLnBrk="0" hangingPunct="1">
              <a:spcBef>
                <a:spcPct val="20000"/>
              </a:spcBef>
              <a:buFontTx/>
              <a:buNone/>
              <a:defRPr lang="en-US" sz="2600" b="1" i="0" kern="1200">
                <a:solidFill>
                  <a:srgbClr val="5A5C5E"/>
                </a:solidFill>
                <a:latin typeface="HelvNeue for IBM"/>
                <a:ea typeface="+mn-ea"/>
                <a:cs typeface="HelvNeue for IBM"/>
              </a:defRPr>
            </a:lvl5pPr>
            <a:lvl6pPr marL="5987514" indent="-544319" algn="l" defTabSz="1088639" rtl="0" eaLnBrk="1" latinLnBrk="0" hangingPunct="1">
              <a:spcBef>
                <a:spcPct val="20000"/>
              </a:spcBef>
              <a:buFont typeface="Arial"/>
              <a:buChar char="•"/>
              <a:defRPr sz="4800" kern="1200">
                <a:solidFill>
                  <a:schemeClr val="tx1"/>
                </a:solidFill>
                <a:latin typeface="+mn-lt"/>
                <a:ea typeface="+mn-ea"/>
                <a:cs typeface="+mn-cs"/>
              </a:defRPr>
            </a:lvl6pPr>
            <a:lvl7pPr marL="7076153" indent="-544319" algn="l" defTabSz="1088639" rtl="0" eaLnBrk="1" latinLnBrk="0" hangingPunct="1">
              <a:spcBef>
                <a:spcPct val="20000"/>
              </a:spcBef>
              <a:buFont typeface="Arial"/>
              <a:buChar char="•"/>
              <a:defRPr sz="4800" kern="1200">
                <a:solidFill>
                  <a:schemeClr val="tx1"/>
                </a:solidFill>
                <a:latin typeface="+mn-lt"/>
                <a:ea typeface="+mn-ea"/>
                <a:cs typeface="+mn-cs"/>
              </a:defRPr>
            </a:lvl7pPr>
            <a:lvl8pPr marL="8164792" indent="-544319" algn="l" defTabSz="1088639" rtl="0" eaLnBrk="1" latinLnBrk="0" hangingPunct="1">
              <a:spcBef>
                <a:spcPct val="20000"/>
              </a:spcBef>
              <a:buFont typeface="Arial"/>
              <a:buChar char="•"/>
              <a:defRPr sz="4800" kern="1200">
                <a:solidFill>
                  <a:schemeClr val="tx1"/>
                </a:solidFill>
                <a:latin typeface="+mn-lt"/>
                <a:ea typeface="+mn-ea"/>
                <a:cs typeface="+mn-cs"/>
              </a:defRPr>
            </a:lvl8pPr>
            <a:lvl9pPr marL="9253431" indent="-544319" algn="l" defTabSz="1088639" rtl="0" eaLnBrk="1" latinLnBrk="0" hangingPunct="1">
              <a:spcBef>
                <a:spcPct val="20000"/>
              </a:spcBef>
              <a:buFont typeface="Arial"/>
              <a:buChar char="•"/>
              <a:defRPr sz="4800" kern="1200">
                <a:solidFill>
                  <a:schemeClr val="tx1"/>
                </a:solidFill>
                <a:latin typeface="+mn-lt"/>
                <a:ea typeface="+mn-ea"/>
                <a:cs typeface="+mn-cs"/>
              </a:defRPr>
            </a:lvl9pPr>
          </a:lstStyle>
          <a:p>
            <a:pPr algn="ctr">
              <a:lnSpc>
                <a:spcPct val="90000"/>
              </a:lnSpc>
              <a:spcBef>
                <a:spcPts val="1680"/>
              </a:spcBef>
            </a:pPr>
            <a:r>
              <a:rPr sz="1200">
                <a:solidFill>
                  <a:srgbClr val="000000"/>
                </a:solidFill>
              </a:rPr>
              <a:t>Launch Spark Technology </a:t>
            </a:r>
            <a:r>
              <a:rPr sz="1200">
                <a:solidFill>
                  <a:srgbClr val="000000"/>
                </a:solidFill>
              </a:rPr>
              <a:t>Center (</a:t>
            </a:r>
            <a:r>
              <a:rPr sz="1200">
                <a:solidFill>
                  <a:srgbClr val="000000"/>
                </a:solidFill>
              </a:rPr>
              <a:t>STC), 300 engineers</a:t>
            </a:r>
          </a:p>
          <a:p>
            <a:pPr algn="ctr">
              <a:lnSpc>
                <a:spcPct val="90000"/>
              </a:lnSpc>
              <a:spcBef>
                <a:spcPts val="1680"/>
              </a:spcBef>
            </a:pPr>
            <a:r>
              <a:rPr sz="1200">
                <a:solidFill>
                  <a:srgbClr val="000000"/>
                </a:solidFill>
              </a:rPr>
              <a:t>Open source </a:t>
            </a:r>
            <a:r>
              <a:rPr sz="1200" err="1">
                <a:solidFill>
                  <a:srgbClr val="000000"/>
                </a:solidFill>
              </a:rPr>
              <a:t>SystemML</a:t>
            </a:r>
            <a:endParaRPr sz="1200">
              <a:solidFill>
                <a:srgbClr val="000000"/>
              </a:solidFill>
            </a:endParaRPr>
          </a:p>
          <a:p>
            <a:pPr algn="ctr">
              <a:lnSpc>
                <a:spcPct val="90000"/>
              </a:lnSpc>
              <a:spcBef>
                <a:spcPts val="1680"/>
              </a:spcBef>
            </a:pPr>
            <a:r>
              <a:rPr sz="1200">
                <a:solidFill>
                  <a:srgbClr val="000000"/>
                </a:solidFill>
              </a:rPr>
              <a:t>Partner with </a:t>
            </a:r>
            <a:r>
              <a:rPr sz="1200" err="1">
                <a:solidFill>
                  <a:srgbClr val="000000"/>
                </a:solidFill>
              </a:rPr>
              <a:t>databricks</a:t>
            </a:r>
            <a:endParaRPr sz="1200">
              <a:solidFill>
                <a:srgbClr val="000000"/>
              </a:solidFill>
            </a:endParaRPr>
          </a:p>
          <a:p>
            <a:pPr algn="ctr">
              <a:lnSpc>
                <a:spcPct val="90000"/>
              </a:lnSpc>
              <a:spcBef>
                <a:spcPts val="1680"/>
              </a:spcBef>
            </a:pPr>
            <a:endParaRPr sz="1200"/>
          </a:p>
        </p:txBody>
      </p:sp>
      <p:sp>
        <p:nvSpPr>
          <p:cNvPr id="17" name="TextBox 16"/>
          <p:cNvSpPr txBox="1"/>
          <p:nvPr/>
        </p:nvSpPr>
        <p:spPr>
          <a:xfrm>
            <a:off x="3813272" y="1100099"/>
            <a:ext cx="1551673" cy="584775"/>
          </a:xfrm>
          <a:prstGeom prst="rect">
            <a:avLst/>
          </a:prstGeom>
          <a:noFill/>
        </p:spPr>
        <p:txBody>
          <a:bodyPr wrap="square" rtlCol="0">
            <a:spAutoFit/>
          </a:bodyPr>
          <a:lstStyle/>
          <a:p>
            <a:pPr algn="ctr"/>
            <a:r>
              <a:rPr lang="en-US" sz="1600" b="1" dirty="0">
                <a:solidFill>
                  <a:srgbClr val="5A5C5E"/>
                </a:solidFill>
                <a:latin typeface="HelvNeue for IBM Light"/>
                <a:cs typeface="HelvNeue for IBM Light"/>
              </a:rPr>
              <a:t>Contribute to the Core</a:t>
            </a:r>
          </a:p>
        </p:txBody>
      </p:sp>
      <p:cxnSp>
        <p:nvCxnSpPr>
          <p:cNvPr id="18" name="Straight Connector 17"/>
          <p:cNvCxnSpPr/>
          <p:nvPr/>
        </p:nvCxnSpPr>
        <p:spPr>
          <a:xfrm>
            <a:off x="3835543" y="1682467"/>
            <a:ext cx="1556881" cy="0"/>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133122" name="AutoShape 2" descr="https://www.ibm.com/developerworks/mydeveloperworks/blogs/iic-san-mateo/resource/BLOGS_UPLOADED_IMAGES/425.marketstreet.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AU"/>
          </a:p>
        </p:txBody>
      </p:sp>
    </p:spTree>
    <p:extLst>
      <p:ext uri="{BB962C8B-B14F-4D97-AF65-F5344CB8AC3E}">
        <p14:creationId xmlns:p14="http://schemas.microsoft.com/office/powerpoint/2010/main" val="1971300666"/>
      </p:ext>
    </p:extLst>
  </p:cSld>
  <p:clrMapOvr>
    <a:masterClrMapping/>
  </p:clrMapOvr>
  <p:transition spd="med"/>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098"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bwMode="gray"/>
        <p:txBody>
          <a:bodyPr/>
          <a:lstStyle/>
          <a:p>
            <a:r>
              <a:rPr lang="en-US" dirty="0"/>
              <a:t>IBM’s vision for </a:t>
            </a:r>
            <a:r>
              <a:rPr lang="en-US" dirty="0" smtClean="0"/>
              <a:t>IBM Analytics for Apache Spark</a:t>
            </a:r>
            <a:endParaRPr lang="en-US" dirty="0">
              <a:latin typeface="Helvetica"/>
              <a:sym typeface="Helvetica"/>
            </a:endParaRPr>
          </a:p>
        </p:txBody>
      </p:sp>
      <p:sp>
        <p:nvSpPr>
          <p:cNvPr id="48" name="Text Placeholder 2"/>
          <p:cNvSpPr txBox="1">
            <a:spLocks/>
          </p:cNvSpPr>
          <p:nvPr/>
        </p:nvSpPr>
        <p:spPr bwMode="gray">
          <a:xfrm>
            <a:off x="1541349" y="1314635"/>
            <a:ext cx="6172436" cy="1107996"/>
          </a:xfrm>
          <a:prstGeom prst="rect">
            <a:avLst/>
          </a:prstGeom>
          <a:noFill/>
          <a:ln w="9525">
            <a:noFill/>
            <a:miter lim="800000"/>
            <a:headEnd/>
            <a:tailEnd/>
          </a:ln>
        </p:spPr>
        <p:txBody>
          <a:bodyPr vert="horz" wrap="square" lIns="0" tIns="0" rIns="91440" bIns="0" numCol="1" anchor="t" anchorCtr="0" compatLnSpc="1">
            <a:prstTxWarp prst="textNoShape">
              <a:avLst/>
            </a:prstTxWarp>
            <a:spAutoFit/>
          </a:bodyPr>
          <a:lstStyle>
            <a:lvl1pPr algn="l" defTabSz="457200" rtl="0" eaLnBrk="0" fontAlgn="base" hangingPunct="0">
              <a:spcBef>
                <a:spcPct val="20000"/>
              </a:spcBef>
              <a:spcAft>
                <a:spcPct val="0"/>
              </a:spcAft>
              <a:buFont typeface="Arial" pitchFamily="34" charset="0"/>
              <a:defRPr sz="1400" kern="1200">
                <a:solidFill>
                  <a:schemeClr val="tx1"/>
                </a:solidFill>
                <a:latin typeface="HelvNeue Light for IBM"/>
                <a:ea typeface="MS PGothic" pitchFamily="34" charset="-128"/>
                <a:cs typeface="MS PGothic" pitchFamily="34" charset="-128"/>
              </a:defRPr>
            </a:lvl1pPr>
            <a:lvl2pPr marL="407630"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2pPr>
            <a:lvl3pPr marL="535646" indent="-151598" algn="l" defTabSz="457200" rtl="0" eaLnBrk="0" fontAlgn="base" hangingPunct="0">
              <a:spcBef>
                <a:spcPts val="588"/>
              </a:spcBef>
              <a:spcAft>
                <a:spcPct val="0"/>
              </a:spcAft>
              <a:buFont typeface="Lucida Grande" pitchFamily="-84" charset="0"/>
              <a:buChar char="-"/>
              <a:defRPr sz="1500" kern="1200">
                <a:solidFill>
                  <a:schemeClr val="tx1"/>
                </a:solidFill>
                <a:latin typeface="HelvNeue Light for IBM"/>
                <a:ea typeface="MS PGothic" pitchFamily="34" charset="-128"/>
                <a:cs typeface="MS PGothic" pitchFamily="34" charset="-128"/>
              </a:defRPr>
            </a:lvl3pPr>
            <a:lvl4pPr marL="631658" indent="-151598" algn="l" defTabSz="457200" rtl="0" eaLnBrk="0" fontAlgn="base" hangingPunct="0">
              <a:spcBef>
                <a:spcPts val="588"/>
              </a:spcBef>
              <a:spcAft>
                <a:spcPct val="0"/>
              </a:spcAft>
              <a:buFont typeface="Wingdings" pitchFamily="2" charset="2"/>
              <a:buChar char="-"/>
              <a:defRPr sz="1500" kern="1200">
                <a:solidFill>
                  <a:schemeClr val="tx1"/>
                </a:solidFill>
                <a:latin typeface="HelvNeue Light for IBM"/>
                <a:ea typeface="MS PGothic" pitchFamily="34" charset="-128"/>
                <a:cs typeface="MS PGothic" pitchFamily="34" charset="-128"/>
              </a:defRPr>
            </a:lvl4pPr>
            <a:lvl5pPr marL="791678" indent="-151598" algn="l" defTabSz="457200" rtl="0" eaLnBrk="0" fontAlgn="base" hangingPunct="0">
              <a:spcBef>
                <a:spcPts val="588"/>
              </a:spcBef>
              <a:spcAft>
                <a:spcPct val="0"/>
              </a:spcAft>
              <a:buFont typeface="Arial" pitchFamily="34" charset="0"/>
              <a:buChar char="-"/>
              <a:defRPr sz="1500" kern="1200">
                <a:solidFill>
                  <a:schemeClr val="tx1"/>
                </a:solidFill>
                <a:latin typeface="HelvNeue Light for IBM"/>
                <a:ea typeface="MS PGothic" pitchFamily="34" charset="-128"/>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defRPr/>
            </a:pPr>
            <a:r>
              <a:rPr lang="en-US" sz="3600" dirty="0" smtClean="0">
                <a:solidFill>
                  <a:srgbClr val="4B4B4B"/>
                </a:solidFill>
                <a:latin typeface="Helvetica" pitchFamily="34" charset="0"/>
              </a:rPr>
              <a:t>We make Spark </a:t>
            </a:r>
            <a:r>
              <a:rPr lang="en-US" sz="3600" b="1" dirty="0" smtClean="0">
                <a:solidFill>
                  <a:srgbClr val="00B0F0"/>
                </a:solidFill>
                <a:latin typeface="Helvetica" pitchFamily="34" charset="0"/>
              </a:rPr>
              <a:t>ACCESSIBLE</a:t>
            </a:r>
            <a:r>
              <a:rPr lang="en-US" sz="3600" b="1" dirty="0" smtClean="0">
                <a:solidFill>
                  <a:srgbClr val="7F1C7D"/>
                </a:solidFill>
                <a:latin typeface="Helvetica" pitchFamily="34" charset="0"/>
              </a:rPr>
              <a:t> </a:t>
            </a:r>
            <a:r>
              <a:rPr lang="en-US" sz="3600" dirty="0" smtClean="0">
                <a:solidFill>
                  <a:srgbClr val="4B4B4B"/>
                </a:solidFill>
                <a:latin typeface="Helvetica" pitchFamily="34" charset="0"/>
              </a:rPr>
              <a:t>and </a:t>
            </a:r>
            <a:r>
              <a:rPr lang="en-US" sz="3600" b="1" dirty="0" smtClean="0">
                <a:solidFill>
                  <a:srgbClr val="00B0F0"/>
                </a:solidFill>
                <a:latin typeface="Helvetica" pitchFamily="34" charset="0"/>
              </a:rPr>
              <a:t>USEFUL</a:t>
            </a:r>
            <a:endParaRPr lang="en-US" sz="3600" b="1" dirty="0">
              <a:solidFill>
                <a:srgbClr val="00B0F0"/>
              </a:solidFill>
              <a:latin typeface="Helvetica" pitchFamily="34" charset="0"/>
            </a:endParaRPr>
          </a:p>
        </p:txBody>
      </p:sp>
      <p:sp>
        <p:nvSpPr>
          <p:cNvPr id="49" name="Double Brace 48"/>
          <p:cNvSpPr/>
          <p:nvPr/>
        </p:nvSpPr>
        <p:spPr bwMode="gray">
          <a:xfrm>
            <a:off x="1105665" y="1249549"/>
            <a:ext cx="6877170" cy="1501477"/>
          </a:xfrm>
          <a:prstGeom prst="bracePair">
            <a:avLst/>
          </a:prstGeom>
          <a:noFill/>
          <a:ln>
            <a:solidFill>
              <a:srgbClr val="0E7BA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algn="ctr"/>
            <a:endParaRPr lang="en-US" sz="1200" b="1">
              <a:solidFill>
                <a:srgbClr val="FFFFFF"/>
              </a:solidFill>
              <a:latin typeface="Helvetica"/>
              <a:sym typeface="Helvetica"/>
            </a:endParaRPr>
          </a:p>
        </p:txBody>
      </p:sp>
      <p:sp>
        <p:nvSpPr>
          <p:cNvPr id="7" name="TextBox 6"/>
          <p:cNvSpPr txBox="1"/>
          <p:nvPr/>
        </p:nvSpPr>
        <p:spPr bwMode="gray">
          <a:xfrm>
            <a:off x="1681848" y="2563624"/>
            <a:ext cx="2919144" cy="2062103"/>
          </a:xfrm>
          <a:prstGeom prst="rect">
            <a:avLst/>
          </a:prstGeom>
          <a:noFill/>
        </p:spPr>
        <p:txBody>
          <a:bodyPr wrap="square" lIns="0" tIns="0" rIns="0" bIns="0" rtlCol="0">
            <a:spAutoFit/>
          </a:bodyPr>
          <a:lstStyle/>
          <a:p>
            <a:pPr marL="231775" indent="-231775" eaLnBrk="0" hangingPunct="0">
              <a:spcBef>
                <a:spcPts val="1500"/>
              </a:spcBef>
              <a:buClr>
                <a:srgbClr val="00B0F0"/>
              </a:buClr>
              <a:buFont typeface="Arial" pitchFamily="34" charset="0"/>
              <a:buChar char="•"/>
              <a:defRPr/>
            </a:pPr>
            <a:r>
              <a:rPr lang="en-US" sz="1600" dirty="0">
                <a:solidFill>
                  <a:srgbClr val="4B4B4B"/>
                </a:solidFill>
                <a:latin typeface="Helvetica"/>
                <a:sym typeface="Helvetica"/>
              </a:rPr>
              <a:t>Free Trial</a:t>
            </a:r>
          </a:p>
          <a:p>
            <a:pPr marL="231775" indent="-231775" eaLnBrk="0" hangingPunct="0">
              <a:spcBef>
                <a:spcPts val="1500"/>
              </a:spcBef>
              <a:buClr>
                <a:srgbClr val="00B0F0"/>
              </a:buClr>
              <a:buFont typeface="Arial" pitchFamily="34" charset="0"/>
              <a:buChar char="•"/>
              <a:defRPr/>
            </a:pPr>
            <a:r>
              <a:rPr lang="en-US" sz="1600" dirty="0">
                <a:solidFill>
                  <a:srgbClr val="4B4B4B"/>
                </a:solidFill>
                <a:latin typeface="Helvetica"/>
                <a:sym typeface="Helvetica"/>
              </a:rPr>
              <a:t>As-A-Service</a:t>
            </a:r>
          </a:p>
          <a:p>
            <a:pPr marL="231775" indent="-231775" eaLnBrk="0" hangingPunct="0">
              <a:spcBef>
                <a:spcPts val="1500"/>
              </a:spcBef>
              <a:buClr>
                <a:srgbClr val="00B0F0"/>
              </a:buClr>
              <a:buFont typeface="Arial" pitchFamily="34" charset="0"/>
              <a:buChar char="•"/>
              <a:defRPr/>
            </a:pPr>
            <a:r>
              <a:rPr lang="en-US" sz="1600" dirty="0" smtClean="0">
                <a:solidFill>
                  <a:srgbClr val="4B4B4B"/>
                </a:solidFill>
                <a:latin typeface="Helvetica"/>
                <a:sym typeface="Helvetica"/>
              </a:rPr>
              <a:t>Pay as you go</a:t>
            </a:r>
            <a:endParaRPr lang="en-US" sz="1600" dirty="0">
              <a:solidFill>
                <a:srgbClr val="4B4B4B"/>
              </a:solidFill>
              <a:latin typeface="Helvetica"/>
              <a:sym typeface="Helvetica"/>
            </a:endParaRPr>
          </a:p>
          <a:p>
            <a:pPr marL="231775" indent="-231775" eaLnBrk="0" hangingPunct="0">
              <a:spcBef>
                <a:spcPts val="1500"/>
              </a:spcBef>
              <a:buClr>
                <a:srgbClr val="00B0F0"/>
              </a:buClr>
              <a:buFont typeface="Arial" pitchFamily="34" charset="0"/>
              <a:buChar char="•"/>
              <a:defRPr/>
            </a:pPr>
            <a:r>
              <a:rPr lang="en-US" sz="1600" dirty="0">
                <a:solidFill>
                  <a:srgbClr val="4B4B4B"/>
                </a:solidFill>
                <a:latin typeface="Helvetica"/>
                <a:sym typeface="Helvetica"/>
              </a:rPr>
              <a:t>Managed</a:t>
            </a:r>
          </a:p>
          <a:p>
            <a:pPr marL="231775" indent="-231775" eaLnBrk="0" hangingPunct="0">
              <a:spcBef>
                <a:spcPts val="1500"/>
              </a:spcBef>
              <a:buClr>
                <a:srgbClr val="00B0F0"/>
              </a:buClr>
              <a:buFont typeface="Arial" pitchFamily="34" charset="0"/>
              <a:buChar char="•"/>
              <a:defRPr/>
            </a:pPr>
            <a:r>
              <a:rPr lang="en-US" sz="1600" dirty="0">
                <a:solidFill>
                  <a:srgbClr val="4B4B4B"/>
                </a:solidFill>
                <a:latin typeface="Helvetica"/>
                <a:sym typeface="Helvetica"/>
              </a:rPr>
              <a:t>Education</a:t>
            </a:r>
          </a:p>
        </p:txBody>
      </p:sp>
      <p:sp>
        <p:nvSpPr>
          <p:cNvPr id="8" name="TextBox 7"/>
          <p:cNvSpPr txBox="1"/>
          <p:nvPr/>
        </p:nvSpPr>
        <p:spPr bwMode="gray">
          <a:xfrm>
            <a:off x="5402476" y="2563555"/>
            <a:ext cx="3478604" cy="2000548"/>
          </a:xfrm>
          <a:prstGeom prst="rect">
            <a:avLst/>
          </a:prstGeom>
          <a:noFill/>
        </p:spPr>
        <p:txBody>
          <a:bodyPr wrap="square" lIns="0" tIns="0" rIns="0" bIns="0" rtlCol="0">
            <a:spAutoFit/>
          </a:bodyPr>
          <a:lstStyle>
            <a:defPPr>
              <a:defRPr lang="en-US"/>
            </a:defPPr>
            <a:lvl1pPr marL="231775" indent="-231775" defTabSz="457200" eaLnBrk="0" hangingPunct="0">
              <a:spcBef>
                <a:spcPts val="1500"/>
              </a:spcBef>
              <a:buClr>
                <a:schemeClr val="accent2"/>
              </a:buClr>
              <a:buFont typeface="Wingdings" pitchFamily="2" charset="2"/>
              <a:buChar char="§"/>
              <a:defRPr sz="2400">
                <a:solidFill>
                  <a:srgbClr val="4B4B4B"/>
                </a:solidFill>
                <a:latin typeface="Helvetica"/>
                <a:cs typeface="+mn-cs"/>
              </a:defRPr>
            </a:lvl1pPr>
          </a:lstStyle>
          <a:p>
            <a:pPr>
              <a:buClr>
                <a:srgbClr val="00B0F0"/>
              </a:buClr>
              <a:buFont typeface="Arial" pitchFamily="34" charset="0"/>
              <a:buChar char="•"/>
            </a:pPr>
            <a:r>
              <a:rPr lang="en-US" sz="1600" dirty="0">
                <a:sym typeface="Helvetica"/>
              </a:rPr>
              <a:t>Datasets</a:t>
            </a:r>
          </a:p>
          <a:p>
            <a:pPr>
              <a:buClr>
                <a:srgbClr val="00B0F0"/>
              </a:buClr>
              <a:buFont typeface="Arial" pitchFamily="34" charset="0"/>
              <a:buChar char="•"/>
            </a:pPr>
            <a:r>
              <a:rPr lang="en-US" sz="1600" dirty="0">
                <a:sym typeface="Helvetica"/>
              </a:rPr>
              <a:t>Notebooks / Tools</a:t>
            </a:r>
          </a:p>
          <a:p>
            <a:pPr>
              <a:buClr>
                <a:srgbClr val="00B0F0"/>
              </a:buClr>
              <a:buFont typeface="Arial" pitchFamily="34" charset="0"/>
              <a:buChar char="•"/>
            </a:pPr>
            <a:r>
              <a:rPr lang="en-US" sz="1600" dirty="0">
                <a:sym typeface="Helvetica"/>
              </a:rPr>
              <a:t>Templates / Boilerplate</a:t>
            </a:r>
          </a:p>
          <a:p>
            <a:pPr>
              <a:buClr>
                <a:srgbClr val="00B0F0"/>
              </a:buClr>
              <a:buFont typeface="Arial" pitchFamily="34" charset="0"/>
              <a:buChar char="•"/>
            </a:pPr>
            <a:r>
              <a:rPr lang="en-US" sz="1600" dirty="0" err="1">
                <a:sym typeface="Helvetica"/>
              </a:rPr>
              <a:t>Autoscaling</a:t>
            </a:r>
            <a:r>
              <a:rPr lang="en-US" sz="1600" dirty="0">
                <a:sym typeface="Helvetica"/>
              </a:rPr>
              <a:t> (elastic)</a:t>
            </a:r>
          </a:p>
          <a:p>
            <a:pPr>
              <a:buClr>
                <a:srgbClr val="00B0F0"/>
              </a:buClr>
              <a:buFont typeface="Arial" pitchFamily="34" charset="0"/>
              <a:buChar char="•"/>
            </a:pPr>
            <a:r>
              <a:rPr lang="en-US" sz="1600" dirty="0">
                <a:sym typeface="Helvetica"/>
              </a:rPr>
              <a:t>Connectors</a:t>
            </a:r>
          </a:p>
        </p:txBody>
      </p:sp>
    </p:spTree>
    <p:extLst>
      <p:ext uri="{BB962C8B-B14F-4D97-AF65-F5344CB8AC3E}">
        <p14:creationId xmlns:p14="http://schemas.microsoft.com/office/powerpoint/2010/main" val="442491886"/>
      </p:ext>
    </p:extLst>
  </p:cSld>
  <p:clrMapOvr>
    <a:masterClrMapping/>
  </p:clrMapOvr>
  <p:transition spd="med"/>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p:cNvSpPr/>
          <p:nvPr/>
        </p:nvSpPr>
        <p:spPr>
          <a:xfrm>
            <a:off x="584519" y="1069219"/>
            <a:ext cx="2240709" cy="2994747"/>
          </a:xfrm>
          <a:prstGeom prst="roundRect">
            <a:avLst>
              <a:gd name="adj" fmla="val 5702"/>
            </a:avLst>
          </a:prstGeom>
          <a:solidFill>
            <a:schemeClr val="bg1">
              <a:lumMod val="85000"/>
              <a:alpha val="50000"/>
            </a:schemeClr>
          </a:solidFill>
          <a:ln w="3175">
            <a:solidFill>
              <a:schemeClr val="bg2"/>
            </a:solidFill>
            <a:prstDash val="sys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title"/>
          </p:nvPr>
        </p:nvSpPr>
        <p:spPr/>
        <p:txBody>
          <a:bodyPr/>
          <a:lstStyle/>
          <a:p>
            <a:r>
              <a:rPr lang="en-US" dirty="0" smtClean="0"/>
              <a:t>Apache Spark as a Service Offering</a:t>
            </a:r>
            <a:endParaRPr lang="en-US" dirty="0"/>
          </a:p>
        </p:txBody>
      </p:sp>
      <p:sp>
        <p:nvSpPr>
          <p:cNvPr id="5" name="Content Placeholder 2"/>
          <p:cNvSpPr>
            <a:spLocks noGrp="1"/>
          </p:cNvSpPr>
          <p:nvPr>
            <p:ph idx="1"/>
          </p:nvPr>
        </p:nvSpPr>
        <p:spPr>
          <a:xfrm>
            <a:off x="3125037" y="972742"/>
            <a:ext cx="5684001" cy="3708116"/>
          </a:xfrm>
        </p:spPr>
        <p:txBody>
          <a:bodyPr/>
          <a:lstStyle/>
          <a:p>
            <a:pPr>
              <a:lnSpc>
                <a:spcPct val="90000"/>
              </a:lnSpc>
              <a:spcBef>
                <a:spcPts val="1200"/>
              </a:spcBef>
              <a:buFont typeface="Arial" pitchFamily="34" charset="0"/>
              <a:buChar char="•"/>
            </a:pPr>
            <a:r>
              <a:rPr lang="en-US" sz="1600" b="0" dirty="0" smtClean="0"/>
              <a:t>Access to Spark as a Service for data processing at scale</a:t>
            </a:r>
          </a:p>
          <a:p>
            <a:pPr>
              <a:lnSpc>
                <a:spcPct val="90000"/>
              </a:lnSpc>
              <a:spcBef>
                <a:spcPts val="1200"/>
              </a:spcBef>
              <a:buFont typeface="Arial" pitchFamily="34" charset="0"/>
              <a:buChar char="•"/>
            </a:pPr>
            <a:r>
              <a:rPr lang="en-US" sz="1600" b="0" dirty="0"/>
              <a:t>Pay only for what you use</a:t>
            </a:r>
          </a:p>
          <a:p>
            <a:pPr>
              <a:lnSpc>
                <a:spcPct val="90000"/>
              </a:lnSpc>
              <a:spcBef>
                <a:spcPts val="1200"/>
              </a:spcBef>
              <a:buFont typeface="Arial" pitchFamily="34" charset="0"/>
              <a:buChar char="•"/>
            </a:pPr>
            <a:r>
              <a:rPr lang="en-US" sz="1600" b="0" dirty="0" smtClean="0"/>
              <a:t>No lock-in </a:t>
            </a:r>
            <a:r>
              <a:rPr lang="en-US" sz="1600" b="0" dirty="0"/>
              <a:t>–</a:t>
            </a:r>
            <a:r>
              <a:rPr lang="en-US" sz="1600" b="0" dirty="0" smtClean="0"/>
              <a:t> 100% standard Spark runs on any standard distribution</a:t>
            </a:r>
          </a:p>
          <a:p>
            <a:pPr>
              <a:lnSpc>
                <a:spcPct val="90000"/>
              </a:lnSpc>
              <a:spcBef>
                <a:spcPts val="1200"/>
              </a:spcBef>
              <a:buFont typeface="Arial" pitchFamily="34" charset="0"/>
              <a:buChar char="•"/>
            </a:pPr>
            <a:r>
              <a:rPr lang="en-US" sz="1600" b="0" dirty="0" smtClean="0"/>
              <a:t>Elastic scaling – start with experimentation, extend to development and scale to production, all within the same environment</a:t>
            </a:r>
          </a:p>
          <a:p>
            <a:pPr>
              <a:lnSpc>
                <a:spcPct val="90000"/>
              </a:lnSpc>
              <a:spcBef>
                <a:spcPts val="1200"/>
              </a:spcBef>
              <a:buFont typeface="Arial" pitchFamily="34" charset="0"/>
              <a:buChar char="•"/>
            </a:pPr>
            <a:r>
              <a:rPr lang="en-US" sz="1600" b="0" dirty="0" smtClean="0"/>
              <a:t>Quick start – service is immediately ready for analysis, skipping setup hurdles, hassles and time</a:t>
            </a:r>
          </a:p>
          <a:p>
            <a:pPr>
              <a:lnSpc>
                <a:spcPct val="90000"/>
              </a:lnSpc>
              <a:spcBef>
                <a:spcPts val="1200"/>
              </a:spcBef>
              <a:buFont typeface="Arial" pitchFamily="34" charset="0"/>
              <a:buChar char="•"/>
            </a:pPr>
            <a:r>
              <a:rPr lang="en-US" sz="1600" b="0" dirty="0" smtClean="0"/>
              <a:t>Peace of mind – fully managed and secured, no DBAs or other admins necessary</a:t>
            </a:r>
          </a:p>
          <a:p>
            <a:pPr>
              <a:lnSpc>
                <a:spcPct val="90000"/>
              </a:lnSpc>
              <a:spcBef>
                <a:spcPts val="1200"/>
              </a:spcBef>
            </a:pPr>
            <a:endParaRPr lang="en-US" sz="1600" b="0" dirty="0" smtClean="0"/>
          </a:p>
          <a:p>
            <a:pPr>
              <a:lnSpc>
                <a:spcPct val="90000"/>
              </a:lnSpc>
              <a:spcBef>
                <a:spcPts val="1200"/>
              </a:spcBef>
            </a:pPr>
            <a:endParaRPr lang="en-US" sz="1600" b="0" dirty="0"/>
          </a:p>
          <a:p>
            <a:pPr>
              <a:lnSpc>
                <a:spcPct val="90000"/>
              </a:lnSpc>
              <a:spcBef>
                <a:spcPts val="1200"/>
              </a:spcBef>
            </a:pPr>
            <a:endParaRPr lang="en-US" sz="1600" b="0" dirty="0"/>
          </a:p>
        </p:txBody>
      </p:sp>
      <p:pic>
        <p:nvPicPr>
          <p:cNvPr id="21"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0003" y="1883363"/>
            <a:ext cx="2049563" cy="805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Box 24"/>
          <p:cNvSpPr txBox="1"/>
          <p:nvPr/>
        </p:nvSpPr>
        <p:spPr>
          <a:xfrm>
            <a:off x="1445239" y="1247627"/>
            <a:ext cx="390557" cy="338554"/>
          </a:xfrm>
          <a:prstGeom prst="rect">
            <a:avLst/>
          </a:prstGeom>
          <a:noFill/>
        </p:spPr>
        <p:txBody>
          <a:bodyPr wrap="square" rtlCol="0">
            <a:spAutoFit/>
          </a:bodyPr>
          <a:lstStyle/>
          <a:p>
            <a:pPr algn="ctr">
              <a:lnSpc>
                <a:spcPct val="80000"/>
              </a:lnSpc>
            </a:pPr>
            <a:r>
              <a:rPr lang="en-US" sz="1000" b="1" dirty="0" smtClean="0"/>
              <a:t>as a</a:t>
            </a:r>
            <a:endParaRPr lang="en-US" sz="1000" b="1" dirty="0"/>
          </a:p>
        </p:txBody>
      </p:sp>
      <p:sp>
        <p:nvSpPr>
          <p:cNvPr id="26" name="TextBox 25"/>
          <p:cNvSpPr txBox="1"/>
          <p:nvPr/>
        </p:nvSpPr>
        <p:spPr>
          <a:xfrm>
            <a:off x="1658705" y="1215395"/>
            <a:ext cx="1113815" cy="369332"/>
          </a:xfrm>
          <a:prstGeom prst="rect">
            <a:avLst/>
          </a:prstGeom>
          <a:noFill/>
        </p:spPr>
        <p:txBody>
          <a:bodyPr wrap="square" rtlCol="0">
            <a:spAutoFit/>
          </a:bodyPr>
          <a:lstStyle/>
          <a:p>
            <a:r>
              <a:rPr lang="en-US" b="1" dirty="0" smtClean="0"/>
              <a:t>service</a:t>
            </a:r>
            <a:endParaRPr lang="en-US" b="1" dirty="0"/>
          </a:p>
        </p:txBody>
      </p:sp>
      <p:pic>
        <p:nvPicPr>
          <p:cNvPr id="27" name="Picture 26"/>
          <p:cNvPicPr>
            <a:picLocks noChangeAspect="1"/>
          </p:cNvPicPr>
          <p:nvPr/>
        </p:nvPicPr>
        <p:blipFill>
          <a:blip r:embed="rId3" cstate="print"/>
          <a:stretch>
            <a:fillRect/>
          </a:stretch>
        </p:blipFill>
        <p:spPr>
          <a:xfrm>
            <a:off x="611678" y="1115462"/>
            <a:ext cx="969663" cy="368548"/>
          </a:xfrm>
          <a:prstGeom prst="rect">
            <a:avLst/>
          </a:prstGeom>
        </p:spPr>
      </p:pic>
      <p:sp>
        <p:nvSpPr>
          <p:cNvPr id="28" name="Rectangle 27"/>
          <p:cNvSpPr/>
          <p:nvPr/>
        </p:nvSpPr>
        <p:spPr>
          <a:xfrm>
            <a:off x="675857" y="2758738"/>
            <a:ext cx="2050405" cy="686869"/>
          </a:xfrm>
          <a:prstGeom prst="rect">
            <a:avLst/>
          </a:prstGeom>
          <a:solidFill>
            <a:schemeClr val="bg1">
              <a:lumMod val="7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9" name="TextBox 28"/>
          <p:cNvSpPr txBox="1"/>
          <p:nvPr/>
        </p:nvSpPr>
        <p:spPr>
          <a:xfrm>
            <a:off x="779414" y="2739142"/>
            <a:ext cx="1843217" cy="738664"/>
          </a:xfrm>
          <a:prstGeom prst="rect">
            <a:avLst/>
          </a:prstGeom>
          <a:noFill/>
        </p:spPr>
        <p:txBody>
          <a:bodyPr wrap="square" rtlCol="0">
            <a:spAutoFit/>
          </a:bodyPr>
          <a:lstStyle/>
          <a:p>
            <a:pPr algn="ctr"/>
            <a:r>
              <a:rPr lang="en-US" sz="1400" dirty="0" smtClean="0"/>
              <a:t>IBM hosted, managed, secure environment</a:t>
            </a:r>
            <a:endParaRPr lang="en-US" sz="1400" dirty="0"/>
          </a:p>
        </p:txBody>
      </p:sp>
      <p:sp>
        <p:nvSpPr>
          <p:cNvPr id="30" name="Rectangle 29"/>
          <p:cNvSpPr/>
          <p:nvPr/>
        </p:nvSpPr>
        <p:spPr>
          <a:xfrm>
            <a:off x="556591" y="4095148"/>
            <a:ext cx="2335696" cy="757130"/>
          </a:xfrm>
          <a:prstGeom prst="rect">
            <a:avLst/>
          </a:prstGeom>
        </p:spPr>
        <p:txBody>
          <a:bodyPr wrap="square">
            <a:spAutoFit/>
          </a:bodyPr>
          <a:lstStyle/>
          <a:p>
            <a:pPr>
              <a:lnSpc>
                <a:spcPct val="90000"/>
              </a:lnSpc>
              <a:spcBef>
                <a:spcPts val="1200"/>
              </a:spcBef>
            </a:pPr>
            <a:r>
              <a:rPr lang="en-US" sz="1600" dirty="0" smtClean="0"/>
              <a:t>Fully-managed Spark environment accessible on-demand</a:t>
            </a:r>
            <a:endParaRPr lang="en-US" sz="1600" dirty="0"/>
          </a:p>
        </p:txBody>
      </p:sp>
      <p:sp>
        <p:nvSpPr>
          <p:cNvPr id="3" name="TextBox 2"/>
          <p:cNvSpPr txBox="1"/>
          <p:nvPr/>
        </p:nvSpPr>
        <p:spPr>
          <a:xfrm>
            <a:off x="6540035" y="388437"/>
            <a:ext cx="2285237" cy="369328"/>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1" vertOverflow="overflow" horzOverflow="overflow" vert="horz" wrap="none" lIns="45718" tIns="45718" rIns="45718" bIns="45718" numCol="1" spcCol="38100" rtlCol="0" anchor="t">
            <a:spAutoFit/>
          </a:bodyPr>
          <a:lstStyle/>
          <a:p>
            <a:pPr algn="l" rtl="0" latinLnBrk="1" hangingPunct="0"/>
            <a:r>
              <a:rPr lang="en-US" dirty="0" smtClean="0">
                <a:solidFill>
                  <a:srgbClr val="000000"/>
                </a:solidFill>
                <a:hlinkClick r:id="rId4"/>
              </a:rPr>
              <a:t>http://ibm.com/spark</a:t>
            </a:r>
            <a:r>
              <a:rPr lang="en-US" dirty="0" smtClean="0">
                <a:solidFill>
                  <a:srgbClr val="000000"/>
                </a:solidFill>
              </a:rPr>
              <a:t> </a:t>
            </a:r>
            <a:endParaRPr lang="en-US" dirty="0">
              <a:solidFill>
                <a:srgbClr val="000000"/>
              </a:solidFill>
            </a:endParaRPr>
          </a:p>
        </p:txBody>
      </p:sp>
    </p:spTree>
    <p:extLst>
      <p:ext uri="{BB962C8B-B14F-4D97-AF65-F5344CB8AC3E}">
        <p14:creationId xmlns:p14="http://schemas.microsoft.com/office/powerpoint/2010/main" val="3520272548"/>
      </p:ext>
    </p:extLst>
  </p:cSld>
  <p:clrMapOvr>
    <a:masterClrMapping/>
  </p:clrMapOvr>
  <p:transition spd="med"/>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AU" dirty="0" smtClean="0"/>
              <a:t>Getting Started</a:t>
            </a:r>
            <a:endParaRPr lang="en-AU" dirty="0"/>
          </a:p>
        </p:txBody>
      </p:sp>
      <p:sp>
        <p:nvSpPr>
          <p:cNvPr id="5" name="Content Placeholder 4"/>
          <p:cNvSpPr>
            <a:spLocks noGrp="1"/>
          </p:cNvSpPr>
          <p:nvPr>
            <p:ph idx="1"/>
          </p:nvPr>
        </p:nvSpPr>
        <p:spPr/>
        <p:txBody>
          <a:bodyPr/>
          <a:lstStyle/>
          <a:p>
            <a:pPr>
              <a:lnSpc>
                <a:spcPct val="120000"/>
              </a:lnSpc>
              <a:buFont typeface="Arial" pitchFamily="34" charset="0"/>
              <a:buChar char="•"/>
            </a:pPr>
            <a:r>
              <a:rPr lang="en-GB" altLang="en-US" sz="2000" b="0" dirty="0" smtClean="0">
                <a:solidFill>
                  <a:srgbClr val="00B0F0"/>
                </a:solidFill>
              </a:rPr>
              <a:t>Discover  -</a:t>
            </a:r>
            <a:r>
              <a:rPr lang="en-GB" altLang="en-US" sz="2000" b="0" dirty="0" smtClean="0">
                <a:solidFill>
                  <a:srgbClr val="B80F53"/>
                </a:solidFill>
              </a:rPr>
              <a:t> </a:t>
            </a:r>
            <a:r>
              <a:rPr lang="en-GB" altLang="en-US" sz="2000" b="0" dirty="0" smtClean="0">
                <a:solidFill>
                  <a:schemeClr val="tx1"/>
                </a:solidFill>
              </a:rPr>
              <a:t>Visit </a:t>
            </a:r>
            <a:r>
              <a:rPr lang="en-GB" altLang="en-US" sz="2000" b="0" dirty="0" smtClean="0">
                <a:solidFill>
                  <a:schemeClr val="tx1"/>
                </a:solidFill>
                <a:hlinkClick r:id="rId2"/>
              </a:rPr>
              <a:t>IBM Big Data Hub</a:t>
            </a:r>
            <a:r>
              <a:rPr lang="en-GB" altLang="en-US" sz="2000" b="0" dirty="0" smtClean="0">
                <a:solidFill>
                  <a:schemeClr val="tx1"/>
                </a:solidFill>
              </a:rPr>
              <a:t> to read the latest news</a:t>
            </a:r>
          </a:p>
          <a:p>
            <a:pPr>
              <a:lnSpc>
                <a:spcPct val="120000"/>
              </a:lnSpc>
              <a:buFont typeface="Arial" pitchFamily="34" charset="0"/>
              <a:buChar char="•"/>
            </a:pPr>
            <a:r>
              <a:rPr lang="en-GB" altLang="en-US" sz="2000" b="0" dirty="0" smtClean="0">
                <a:solidFill>
                  <a:srgbClr val="00B0F0"/>
                </a:solidFill>
              </a:rPr>
              <a:t>Learn - </a:t>
            </a:r>
            <a:r>
              <a:rPr lang="en-GB" altLang="en-US" sz="2000" b="0" dirty="0" smtClean="0">
                <a:solidFill>
                  <a:schemeClr val="tx1"/>
                </a:solidFill>
              </a:rPr>
              <a:t>Start with the “Spark Fundamentals” at </a:t>
            </a:r>
            <a:r>
              <a:rPr lang="en-US" altLang="en-US" sz="2000" b="0" dirty="0" smtClean="0">
                <a:solidFill>
                  <a:schemeClr val="tx1"/>
                </a:solidFill>
                <a:hlinkClick r:id="rId3"/>
              </a:rPr>
              <a:t>Big Data University</a:t>
            </a:r>
            <a:endParaRPr lang="en-US" altLang="en-US" sz="2000" b="0" dirty="0" smtClean="0">
              <a:solidFill>
                <a:schemeClr val="tx1"/>
              </a:solidFill>
            </a:endParaRPr>
          </a:p>
          <a:p>
            <a:pPr>
              <a:lnSpc>
                <a:spcPct val="120000"/>
              </a:lnSpc>
              <a:buFont typeface="Arial" pitchFamily="34" charset="0"/>
              <a:buChar char="•"/>
            </a:pPr>
            <a:r>
              <a:rPr lang="en-GB" altLang="en-US" sz="2000" b="0" dirty="0" smtClean="0">
                <a:solidFill>
                  <a:srgbClr val="00B0F0"/>
                </a:solidFill>
              </a:rPr>
              <a:t>Try Spark - </a:t>
            </a:r>
            <a:r>
              <a:rPr lang="en-GB" altLang="en-US" sz="2000" b="0" dirty="0" smtClean="0">
                <a:solidFill>
                  <a:schemeClr val="tx1"/>
                </a:solidFill>
              </a:rPr>
              <a:t>Sign up for Apache Spark as a Service on IBM </a:t>
            </a:r>
            <a:r>
              <a:rPr lang="en-GB" altLang="en-US" sz="2000" b="0" dirty="0" err="1" smtClean="0">
                <a:solidFill>
                  <a:schemeClr val="tx1"/>
                </a:solidFill>
              </a:rPr>
              <a:t>Bluemix</a:t>
            </a:r>
            <a:r>
              <a:rPr lang="en-GB" altLang="en-US" sz="2000" b="0" dirty="0" smtClean="0">
                <a:solidFill>
                  <a:schemeClr val="tx1"/>
                </a:solidFill>
              </a:rPr>
              <a:t> at </a:t>
            </a:r>
            <a:r>
              <a:rPr lang="en-GB" altLang="en-US" sz="2000" b="0" dirty="0" smtClean="0">
                <a:solidFill>
                  <a:schemeClr val="tx1"/>
                </a:solidFill>
                <a:hlinkClick r:id="rId4"/>
              </a:rPr>
              <a:t>http://ibm.com/spark</a:t>
            </a:r>
            <a:r>
              <a:rPr lang="en-GB" altLang="en-US" sz="2000" b="0" dirty="0" smtClean="0">
                <a:solidFill>
                  <a:schemeClr val="tx1"/>
                </a:solidFill>
              </a:rPr>
              <a:t> </a:t>
            </a:r>
          </a:p>
          <a:p>
            <a:pPr>
              <a:lnSpc>
                <a:spcPct val="120000"/>
              </a:lnSpc>
              <a:buFont typeface="Arial" pitchFamily="34" charset="0"/>
              <a:buChar char="•"/>
            </a:pPr>
            <a:r>
              <a:rPr lang="en-GB" altLang="en-US" sz="2000" b="0" dirty="0" smtClean="0">
                <a:solidFill>
                  <a:srgbClr val="00B0F0"/>
                </a:solidFill>
              </a:rPr>
              <a:t>Try Spark with </a:t>
            </a:r>
            <a:r>
              <a:rPr lang="en-GB" altLang="en-US" sz="2000" b="0" dirty="0" err="1" smtClean="0">
                <a:solidFill>
                  <a:srgbClr val="00B0F0"/>
                </a:solidFill>
              </a:rPr>
              <a:t>Hadoop</a:t>
            </a:r>
            <a:r>
              <a:rPr lang="en-GB" altLang="en-US" sz="2000" b="0" dirty="0" smtClean="0">
                <a:solidFill>
                  <a:srgbClr val="00B0F0"/>
                </a:solidFill>
              </a:rPr>
              <a:t>  - </a:t>
            </a:r>
            <a:r>
              <a:rPr lang="en-GB" altLang="en-US" sz="2000" b="0" dirty="0" smtClean="0">
                <a:solidFill>
                  <a:schemeClr val="tx1"/>
                </a:solidFill>
              </a:rPr>
              <a:t>Download at </a:t>
            </a:r>
            <a:r>
              <a:rPr lang="en-GB" altLang="en-US" sz="2000" b="0" dirty="0" smtClean="0">
                <a:solidFill>
                  <a:schemeClr val="tx1"/>
                </a:solidFill>
                <a:hlinkClick r:id="rId5" action="ppaction://hlinkfile"/>
              </a:rPr>
              <a:t>IBM.com/</a:t>
            </a:r>
            <a:r>
              <a:rPr lang="en-GB" altLang="en-US" sz="2000" b="0" dirty="0" err="1" smtClean="0">
                <a:solidFill>
                  <a:schemeClr val="tx1"/>
                </a:solidFill>
                <a:hlinkClick r:id="rId5" action="ppaction://hlinkfile"/>
              </a:rPr>
              <a:t>Hadoop</a:t>
            </a:r>
            <a:endParaRPr lang="en-GB" altLang="en-US" sz="2000" b="0" dirty="0" smtClean="0">
              <a:solidFill>
                <a:schemeClr val="tx1"/>
              </a:solidFill>
            </a:endParaRPr>
          </a:p>
          <a:p>
            <a:pPr>
              <a:lnSpc>
                <a:spcPct val="120000"/>
              </a:lnSpc>
              <a:buFont typeface="Arial" pitchFamily="34" charset="0"/>
              <a:buChar char="•"/>
            </a:pPr>
            <a:r>
              <a:rPr lang="en-GB" altLang="en-US" sz="2000" b="0" dirty="0" smtClean="0">
                <a:solidFill>
                  <a:srgbClr val="00B0F0"/>
                </a:solidFill>
              </a:rPr>
              <a:t>Engage - </a:t>
            </a:r>
            <a:r>
              <a:rPr lang="en-GB" altLang="en-US" sz="2000" b="0" dirty="0" smtClean="0">
                <a:solidFill>
                  <a:schemeClr val="tx1"/>
                </a:solidFill>
              </a:rPr>
              <a:t>Join the IBM Spark Technology </a:t>
            </a:r>
            <a:r>
              <a:rPr lang="en-GB" altLang="en-US" sz="2000" b="0" dirty="0" err="1" smtClean="0">
                <a:solidFill>
                  <a:schemeClr val="tx1"/>
                </a:solidFill>
              </a:rPr>
              <a:t>Center</a:t>
            </a:r>
            <a:r>
              <a:rPr lang="en-GB" altLang="en-US" sz="2000" b="0" dirty="0" smtClean="0">
                <a:solidFill>
                  <a:schemeClr val="tx1"/>
                </a:solidFill>
              </a:rPr>
              <a:t> at </a:t>
            </a:r>
            <a:r>
              <a:rPr lang="en-GB" altLang="en-US" sz="2000" b="0" dirty="0" smtClean="0">
                <a:solidFill>
                  <a:schemeClr val="tx1"/>
                </a:solidFill>
                <a:hlinkClick r:id="rId6"/>
              </a:rPr>
              <a:t>www.spark.tc</a:t>
            </a:r>
            <a:endParaRPr lang="en-GB" altLang="en-US" sz="2000" b="0" dirty="0" smtClean="0">
              <a:solidFill>
                <a:schemeClr val="tx1"/>
              </a:solidFill>
            </a:endParaRPr>
          </a:p>
        </p:txBody>
      </p:sp>
    </p:spTree>
    <p:extLst>
      <p:ext uri="{BB962C8B-B14F-4D97-AF65-F5344CB8AC3E}">
        <p14:creationId xmlns:p14="http://schemas.microsoft.com/office/powerpoint/2010/main" val="4068308738"/>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p:cNvSpPr txBox="1">
            <a:spLocks/>
          </p:cNvSpPr>
          <p:nvPr/>
        </p:nvSpPr>
        <p:spPr bwMode="auto">
          <a:xfrm>
            <a:off x="91970" y="1653816"/>
            <a:ext cx="8489491" cy="1664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200">
                <a:solidFill>
                  <a:schemeClr val="hlink"/>
                </a:solidFill>
                <a:latin typeface="Arial" charset="0"/>
                <a:ea typeface="ＭＳ Ｐゴシック" charset="0"/>
                <a:cs typeface="ＭＳ Ｐゴシック" charset="0"/>
              </a:defRPr>
            </a:lvl1pPr>
            <a:lvl2pPr marL="742950" indent="-285750">
              <a:defRPr sz="2200">
                <a:solidFill>
                  <a:schemeClr val="hlink"/>
                </a:solidFill>
                <a:latin typeface="Arial" charset="0"/>
                <a:ea typeface="ＭＳ Ｐゴシック" charset="0"/>
              </a:defRPr>
            </a:lvl2pPr>
            <a:lvl3pPr marL="1143000" indent="-228600">
              <a:defRPr sz="2200">
                <a:solidFill>
                  <a:schemeClr val="hlink"/>
                </a:solidFill>
                <a:latin typeface="Arial" charset="0"/>
                <a:ea typeface="ＭＳ Ｐゴシック" charset="0"/>
              </a:defRPr>
            </a:lvl3pPr>
            <a:lvl4pPr marL="1600200" indent="-228600">
              <a:defRPr sz="2200">
                <a:solidFill>
                  <a:schemeClr val="hlink"/>
                </a:solidFill>
                <a:latin typeface="Arial" charset="0"/>
                <a:ea typeface="ＭＳ Ｐゴシック" charset="0"/>
              </a:defRPr>
            </a:lvl4pPr>
            <a:lvl5pPr marL="2057400" indent="-228600">
              <a:defRPr sz="2200">
                <a:solidFill>
                  <a:schemeClr val="hlink"/>
                </a:solidFill>
                <a:latin typeface="Arial" charset="0"/>
                <a:ea typeface="ＭＳ Ｐゴシック" charset="0"/>
              </a:defRPr>
            </a:lvl5pPr>
            <a:lvl6pPr marL="2514600" indent="-228600" eaLnBrk="0" fontAlgn="base" hangingPunct="0">
              <a:spcBef>
                <a:spcPct val="0"/>
              </a:spcBef>
              <a:spcAft>
                <a:spcPct val="0"/>
              </a:spcAft>
              <a:defRPr sz="2200">
                <a:solidFill>
                  <a:schemeClr val="hlink"/>
                </a:solidFill>
                <a:latin typeface="Arial" charset="0"/>
                <a:ea typeface="ＭＳ Ｐゴシック" charset="0"/>
              </a:defRPr>
            </a:lvl6pPr>
            <a:lvl7pPr marL="2971800" indent="-228600" eaLnBrk="0" fontAlgn="base" hangingPunct="0">
              <a:spcBef>
                <a:spcPct val="0"/>
              </a:spcBef>
              <a:spcAft>
                <a:spcPct val="0"/>
              </a:spcAft>
              <a:defRPr sz="2200">
                <a:solidFill>
                  <a:schemeClr val="hlink"/>
                </a:solidFill>
                <a:latin typeface="Arial" charset="0"/>
                <a:ea typeface="ＭＳ Ｐゴシック" charset="0"/>
              </a:defRPr>
            </a:lvl7pPr>
            <a:lvl8pPr marL="3429000" indent="-228600" eaLnBrk="0" fontAlgn="base" hangingPunct="0">
              <a:spcBef>
                <a:spcPct val="0"/>
              </a:spcBef>
              <a:spcAft>
                <a:spcPct val="0"/>
              </a:spcAft>
              <a:defRPr sz="2200">
                <a:solidFill>
                  <a:schemeClr val="hlink"/>
                </a:solidFill>
                <a:latin typeface="Arial" charset="0"/>
                <a:ea typeface="ＭＳ Ｐゴシック" charset="0"/>
              </a:defRPr>
            </a:lvl8pPr>
            <a:lvl9pPr marL="3886200" indent="-228600" eaLnBrk="0" fontAlgn="base" hangingPunct="0">
              <a:spcBef>
                <a:spcPct val="0"/>
              </a:spcBef>
              <a:spcAft>
                <a:spcPct val="0"/>
              </a:spcAft>
              <a:defRPr sz="2200">
                <a:solidFill>
                  <a:schemeClr val="hlink"/>
                </a:solidFill>
                <a:latin typeface="Arial" charset="0"/>
                <a:ea typeface="ＭＳ Ｐゴシック" charset="0"/>
              </a:defRPr>
            </a:lvl9pPr>
          </a:lstStyle>
          <a:p>
            <a:pPr algn="ctr">
              <a:spcBef>
                <a:spcPts val="300"/>
              </a:spcBef>
              <a:buClr>
                <a:srgbClr val="000000"/>
              </a:buClr>
              <a:buSzPct val="100000"/>
              <a:buFont typeface="Wingdings" charset="0"/>
              <a:buNone/>
            </a:pPr>
            <a:r>
              <a:rPr lang="en-US" sz="6000" b="1" dirty="0" smtClean="0">
                <a:solidFill>
                  <a:srgbClr val="1673B2"/>
                </a:solidFill>
                <a:cs typeface="Arial" charset="0"/>
                <a:sym typeface="Arial" charset="0"/>
              </a:rPr>
              <a:t>Is IBM a cloud company?</a:t>
            </a:r>
            <a:endParaRPr lang="en-US" sz="6000" b="1" dirty="0">
              <a:solidFill>
                <a:srgbClr val="1673B2"/>
              </a:solidFill>
              <a:cs typeface="Arial" charset="0"/>
              <a:sym typeface="Arial" charset="0"/>
            </a:endParaRPr>
          </a:p>
        </p:txBody>
      </p:sp>
    </p:spTree>
    <p:extLst>
      <p:ext uri="{BB962C8B-B14F-4D97-AF65-F5344CB8AC3E}">
        <p14:creationId xmlns:p14="http://schemas.microsoft.com/office/powerpoint/2010/main" val="3043159839"/>
      </p:ext>
    </p:extLst>
  </p:cSld>
  <p:clrMapOvr>
    <a:masterClrMapping/>
  </p:clrMapOvr>
  <p:transition spd="med"/>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477749" y="88596"/>
            <a:ext cx="6004827" cy="5143500"/>
          </a:xfrm>
          <a:prstGeom prst="rect">
            <a:avLst/>
          </a:prstGeom>
        </p:spPr>
      </p:pic>
    </p:spTree>
    <p:extLst>
      <p:ext uri="{BB962C8B-B14F-4D97-AF65-F5344CB8AC3E}">
        <p14:creationId xmlns:p14="http://schemas.microsoft.com/office/powerpoint/2010/main" val="2288809222"/>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Shape 245"/>
          <p:cNvSpPr>
            <a:spLocks noGrp="1"/>
          </p:cNvSpPr>
          <p:nvPr>
            <p:ph type="title"/>
          </p:nvPr>
        </p:nvSpPr>
        <p:spPr>
          <a:xfrm>
            <a:off x="1060570" y="366543"/>
            <a:ext cx="5917524" cy="415529"/>
          </a:xfrm>
          <a:prstGeom prst="rect">
            <a:avLst/>
          </a:prstGeom>
        </p:spPr>
        <p:txBody>
          <a:bodyPr lIns="46037" tIns="46037" rIns="46037" bIns="46037">
            <a:normAutofit fontScale="90000"/>
          </a:bodyPr>
          <a:lstStyle>
            <a:lvl1pPr>
              <a:defRPr sz="2400" b="1"/>
            </a:lvl1pPr>
          </a:lstStyle>
          <a:p>
            <a:pPr lvl="0" algn="l">
              <a:defRPr sz="1800" b="0"/>
            </a:pPr>
            <a:r>
              <a:rPr lang="en-US" sz="2400" b="1" dirty="0" smtClean="0"/>
              <a:t>Some Facts</a:t>
            </a:r>
            <a:endParaRPr sz="2400" b="1" dirty="0"/>
          </a:p>
        </p:txBody>
      </p:sp>
      <p:sp>
        <p:nvSpPr>
          <p:cNvPr id="9" name="Content Placeholder 5"/>
          <p:cNvSpPr txBox="1">
            <a:spLocks/>
          </p:cNvSpPr>
          <p:nvPr/>
        </p:nvSpPr>
        <p:spPr>
          <a:xfrm>
            <a:off x="182563" y="934687"/>
            <a:ext cx="6043926" cy="3725672"/>
          </a:xfrm>
          <a:prstGeom prst="rect">
            <a:avLst/>
          </a:prstGeom>
        </p:spPr>
        <p:txBody>
          <a:bodyPr/>
          <a:lstStyle>
            <a:lvl1pPr marL="176212" indent="-176212">
              <a:spcBef>
                <a:spcPts val="300"/>
              </a:spcBef>
              <a:buClr>
                <a:srgbClr val="000000"/>
              </a:buClr>
              <a:buSzPct val="100000"/>
              <a:buFont typeface="Wingdings"/>
              <a:buChar char="▪"/>
              <a:defRPr sz="1600">
                <a:latin typeface="Arial"/>
                <a:ea typeface="Arial"/>
                <a:cs typeface="Arial"/>
                <a:sym typeface="Arial"/>
              </a:defRPr>
            </a:lvl1pPr>
            <a:lvl2pPr marL="515937" indent="-225425">
              <a:spcBef>
                <a:spcPts val="300"/>
              </a:spcBef>
              <a:buClr>
                <a:srgbClr val="000000"/>
              </a:buClr>
              <a:buSzPct val="100000"/>
              <a:buFont typeface="Wingdings"/>
              <a:buChar char="−"/>
              <a:defRPr sz="1600">
                <a:latin typeface="Arial"/>
                <a:ea typeface="Arial"/>
                <a:cs typeface="Arial"/>
                <a:sym typeface="Arial"/>
              </a:defRPr>
            </a:lvl2pPr>
            <a:lvl3pPr marL="804862" indent="-171450">
              <a:spcBef>
                <a:spcPts val="300"/>
              </a:spcBef>
              <a:buClr>
                <a:srgbClr val="000000"/>
              </a:buClr>
              <a:buSzPct val="100000"/>
              <a:buFont typeface="Wingdings"/>
              <a:buChar char="•"/>
              <a:defRPr sz="1600">
                <a:latin typeface="Arial"/>
                <a:ea typeface="Arial"/>
                <a:cs typeface="Arial"/>
                <a:sym typeface="Arial"/>
              </a:defRPr>
            </a:lvl3pPr>
            <a:lvl4pPr marL="1455511" indent="-201386">
              <a:spcBef>
                <a:spcPts val="300"/>
              </a:spcBef>
              <a:buClr>
                <a:srgbClr val="000000"/>
              </a:buClr>
              <a:buSzPct val="100000"/>
              <a:buFont typeface="Wingdings"/>
              <a:buChar char="•"/>
              <a:defRPr sz="1600">
                <a:latin typeface="Arial"/>
                <a:ea typeface="Arial"/>
                <a:cs typeface="Arial"/>
                <a:sym typeface="Arial"/>
              </a:defRPr>
            </a:lvl4pPr>
            <a:lvl5pPr indent="1711325">
              <a:spcBef>
                <a:spcPts val="300"/>
              </a:spcBef>
              <a:buClr>
                <a:srgbClr val="000000"/>
              </a:buClr>
              <a:buFont typeface="Wingdings"/>
              <a:defRPr sz="1600">
                <a:latin typeface="Arial"/>
                <a:ea typeface="Arial"/>
                <a:cs typeface="Arial"/>
                <a:sym typeface="Arial"/>
              </a:defRPr>
            </a:lvl5pPr>
            <a:lvl6pPr indent="2168525">
              <a:spcBef>
                <a:spcPts val="300"/>
              </a:spcBef>
              <a:buClr>
                <a:srgbClr val="000000"/>
              </a:buClr>
              <a:buFont typeface="Wingdings"/>
              <a:defRPr sz="1600">
                <a:latin typeface="Arial"/>
                <a:ea typeface="Arial"/>
                <a:cs typeface="Arial"/>
                <a:sym typeface="Arial"/>
              </a:defRPr>
            </a:lvl6pPr>
            <a:lvl7pPr indent="2625725">
              <a:spcBef>
                <a:spcPts val="300"/>
              </a:spcBef>
              <a:buClr>
                <a:srgbClr val="000000"/>
              </a:buClr>
              <a:buFont typeface="Wingdings"/>
              <a:defRPr sz="1600">
                <a:latin typeface="Arial"/>
                <a:ea typeface="Arial"/>
                <a:cs typeface="Arial"/>
                <a:sym typeface="Arial"/>
              </a:defRPr>
            </a:lvl7pPr>
            <a:lvl8pPr indent="3082925">
              <a:spcBef>
                <a:spcPts val="300"/>
              </a:spcBef>
              <a:buClr>
                <a:srgbClr val="000000"/>
              </a:buClr>
              <a:buFont typeface="Wingdings"/>
              <a:defRPr sz="1600">
                <a:latin typeface="Arial"/>
                <a:ea typeface="Arial"/>
                <a:cs typeface="Arial"/>
                <a:sym typeface="Arial"/>
              </a:defRPr>
            </a:lvl8pPr>
            <a:lvl9pPr indent="3540125">
              <a:spcBef>
                <a:spcPts val="300"/>
              </a:spcBef>
              <a:buClr>
                <a:srgbClr val="000000"/>
              </a:buClr>
              <a:buFont typeface="Wingdings"/>
              <a:defRPr sz="1600">
                <a:latin typeface="Arial"/>
                <a:ea typeface="Arial"/>
                <a:cs typeface="Arial"/>
                <a:sym typeface="Arial"/>
              </a:defRPr>
            </a:lvl9pPr>
          </a:lstStyle>
          <a:p>
            <a:pPr>
              <a:buFont typeface="Arial" panose="020B0604020202020204" pitchFamily="34" charset="0"/>
              <a:buChar char="•"/>
            </a:pPr>
            <a:r>
              <a:rPr lang="en-US" sz="1400" b="1" dirty="0" smtClean="0">
                <a:latin typeface="Arial" charset="0"/>
                <a:cs typeface="ＭＳ Ｐゴシック" charset="0"/>
              </a:rPr>
              <a:t>IBM’s overall cloud business is running at an $8.7 billion annual run rate</a:t>
            </a:r>
          </a:p>
          <a:p>
            <a:pPr lvl="1">
              <a:buFont typeface="Arial" panose="020B0604020202020204" pitchFamily="34" charset="0"/>
              <a:buChar char="•"/>
            </a:pPr>
            <a:r>
              <a:rPr lang="en-US" sz="1400" dirty="0" smtClean="0">
                <a:latin typeface="Arial" charset="0"/>
                <a:cs typeface="ＭＳ Ｐゴシック" charset="0"/>
              </a:rPr>
              <a:t>Growing 75% per year</a:t>
            </a:r>
          </a:p>
          <a:p>
            <a:pPr lvl="1">
              <a:buFont typeface="Arial" panose="020B0604020202020204" pitchFamily="34" charset="0"/>
              <a:buChar char="•"/>
            </a:pPr>
            <a:r>
              <a:rPr lang="en-US" sz="1400" dirty="0" smtClean="0">
                <a:latin typeface="Arial" charset="0"/>
                <a:cs typeface="ＭＳ Ｐゴシック" charset="0"/>
              </a:rPr>
              <a:t>Projected to be $40 billion by 2018 and representing 44% of the corporation’s revenue</a:t>
            </a:r>
          </a:p>
          <a:p>
            <a:pPr lvl="1">
              <a:buFont typeface="Arial" panose="020B0604020202020204" pitchFamily="34" charset="0"/>
              <a:buChar char="•"/>
            </a:pPr>
            <a:r>
              <a:rPr lang="en-US" sz="1400" dirty="0" smtClean="0">
                <a:latin typeface="Arial" charset="0"/>
                <a:cs typeface="ＭＳ Ｐゴシック" charset="0"/>
              </a:rPr>
              <a:t>Revenue and business from </a:t>
            </a:r>
            <a:r>
              <a:rPr lang="en-US" sz="1400" dirty="0" err="1" smtClean="0">
                <a:latin typeface="Arial" charset="0"/>
                <a:cs typeface="ＭＳ Ｐゴシック" charset="0"/>
              </a:rPr>
              <a:t>IaaS</a:t>
            </a:r>
            <a:r>
              <a:rPr lang="en-US" sz="1400" dirty="0" smtClean="0">
                <a:latin typeface="Arial" charset="0"/>
                <a:cs typeface="ＭＳ Ｐゴシック" charset="0"/>
              </a:rPr>
              <a:t>, </a:t>
            </a:r>
            <a:r>
              <a:rPr lang="en-US" sz="1400" dirty="0" err="1" smtClean="0">
                <a:latin typeface="Arial" charset="0"/>
                <a:cs typeface="ＭＳ Ｐゴシック" charset="0"/>
              </a:rPr>
              <a:t>PaaS</a:t>
            </a:r>
            <a:r>
              <a:rPr lang="en-US" sz="1400" dirty="0" smtClean="0">
                <a:latin typeface="Arial" charset="0"/>
                <a:cs typeface="ＭＳ Ｐゴシック" charset="0"/>
              </a:rPr>
              <a:t>, </a:t>
            </a:r>
            <a:r>
              <a:rPr lang="en-US" sz="1400" dirty="0" err="1" smtClean="0">
                <a:latin typeface="Arial" charset="0"/>
                <a:cs typeface="ＭＳ Ｐゴシック" charset="0"/>
              </a:rPr>
              <a:t>SaaS</a:t>
            </a:r>
            <a:r>
              <a:rPr lang="en-US" sz="1400" dirty="0" smtClean="0">
                <a:latin typeface="Arial" charset="0"/>
                <a:cs typeface="ＭＳ Ｐゴシック" charset="0"/>
              </a:rPr>
              <a:t> offerings</a:t>
            </a:r>
          </a:p>
          <a:p>
            <a:pPr lvl="1">
              <a:buFont typeface="Arial" panose="020B0604020202020204" pitchFamily="34" charset="0"/>
              <a:buChar char="•"/>
            </a:pPr>
            <a:endParaRPr lang="en-US" sz="1400" b="1" dirty="0" smtClean="0">
              <a:latin typeface="Arial" charset="0"/>
              <a:cs typeface="ＭＳ Ｐゴシック" charset="0"/>
            </a:endParaRPr>
          </a:p>
          <a:p>
            <a:pPr>
              <a:buFont typeface="Arial" panose="020B0604020202020204" pitchFamily="34" charset="0"/>
              <a:buChar char="•"/>
            </a:pPr>
            <a:r>
              <a:rPr lang="en-US" sz="1400" b="1" dirty="0" smtClean="0">
                <a:latin typeface="Arial" charset="0"/>
                <a:cs typeface="ＭＳ Ｐゴシック" charset="0"/>
              </a:rPr>
              <a:t>Strong partnerships, investments, and acquisition bring value to our clients</a:t>
            </a:r>
          </a:p>
          <a:p>
            <a:pPr lvl="1">
              <a:buFont typeface="Arial" panose="020B0604020202020204" pitchFamily="34" charset="0"/>
              <a:buChar char="•"/>
            </a:pPr>
            <a:r>
              <a:rPr lang="en-US" sz="1400" dirty="0" smtClean="0">
                <a:latin typeface="Arial" charset="0"/>
                <a:cs typeface="ＭＳ Ｐゴシック" charset="0"/>
              </a:rPr>
              <a:t>Acquisitions of </a:t>
            </a:r>
            <a:r>
              <a:rPr lang="en-US" sz="1400" dirty="0" err="1" smtClean="0">
                <a:latin typeface="Arial" charset="0"/>
                <a:cs typeface="ＭＳ Ｐゴシック" charset="0"/>
              </a:rPr>
              <a:t>SoftLayer</a:t>
            </a:r>
            <a:r>
              <a:rPr lang="en-US" sz="1400" dirty="0" smtClean="0">
                <a:latin typeface="Arial" charset="0"/>
                <a:cs typeface="ＭＳ Ｐゴシック" charset="0"/>
              </a:rPr>
              <a:t>, Cloudant, Compose, </a:t>
            </a:r>
            <a:r>
              <a:rPr lang="en-US" sz="1400" dirty="0" err="1" smtClean="0">
                <a:latin typeface="Arial" charset="0"/>
                <a:cs typeface="ＭＳ Ｐゴシック" charset="0"/>
              </a:rPr>
              <a:t>BlueBox</a:t>
            </a:r>
            <a:endParaRPr lang="en-US" sz="1400" dirty="0" smtClean="0">
              <a:latin typeface="Arial" charset="0"/>
              <a:cs typeface="ＭＳ Ｐゴシック" charset="0"/>
            </a:endParaRPr>
          </a:p>
          <a:p>
            <a:pPr lvl="1">
              <a:buFont typeface="Arial" panose="020B0604020202020204" pitchFamily="34" charset="0"/>
              <a:buChar char="•"/>
            </a:pPr>
            <a:r>
              <a:rPr lang="en-US" sz="1400" dirty="0" smtClean="0">
                <a:latin typeface="Arial" charset="0"/>
                <a:cs typeface="ＭＳ Ｐゴシック" charset="0"/>
              </a:rPr>
              <a:t>Partnerships with Twitter, Facebook, Box, the Weather Company</a:t>
            </a:r>
          </a:p>
          <a:p>
            <a:pPr>
              <a:buFont typeface="Arial" panose="020B0604020202020204" pitchFamily="34" charset="0"/>
              <a:buChar char="•"/>
            </a:pPr>
            <a:endParaRPr lang="en-US" sz="1400" dirty="0">
              <a:latin typeface="Arial" charset="0"/>
              <a:cs typeface="ＭＳ Ｐゴシック" charset="0"/>
            </a:endParaRPr>
          </a:p>
          <a:p>
            <a:pPr>
              <a:buFont typeface="Arial" panose="020B0604020202020204" pitchFamily="34" charset="0"/>
              <a:buChar char="•"/>
            </a:pPr>
            <a:r>
              <a:rPr lang="en-US" sz="1400" b="1" dirty="0" smtClean="0">
                <a:latin typeface="Arial" charset="0"/>
                <a:cs typeface="ＭＳ Ｐゴシック" charset="0"/>
              </a:rPr>
              <a:t>IBM’s leading IP leadership, investment in open source, integrated experience, and flexibility of deployment makes the IBM Cloud and offerings best suited for enterprises and developers alike</a:t>
            </a:r>
          </a:p>
          <a:p>
            <a:pPr lvl="1">
              <a:buFont typeface="Arial" panose="020B0604020202020204" pitchFamily="34" charset="0"/>
              <a:buChar char="•"/>
            </a:pPr>
            <a:endParaRPr lang="en-US" sz="1400" dirty="0">
              <a:latin typeface="Arial" charset="0"/>
              <a:cs typeface="ＭＳ Ｐゴシック" charset="0"/>
            </a:endParaRPr>
          </a:p>
        </p:txBody>
      </p:sp>
      <p:sp>
        <p:nvSpPr>
          <p:cNvPr id="10" name="Text Placeholder 2"/>
          <p:cNvSpPr txBox="1">
            <a:spLocks/>
          </p:cNvSpPr>
          <p:nvPr/>
        </p:nvSpPr>
        <p:spPr bwMode="auto">
          <a:xfrm>
            <a:off x="6448426" y="934686"/>
            <a:ext cx="2428947" cy="891781"/>
          </a:xfrm>
          <a:prstGeom prst="rect">
            <a:avLst/>
          </a:prstGeom>
          <a:solidFill>
            <a:schemeClr val="accent1">
              <a:lumMod val="20000"/>
              <a:lumOff val="80000"/>
            </a:schemeClr>
          </a:solidFill>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bodyPr>
          <a:lstStyle>
            <a:lvl1pPr marL="173038" indent="-173038" algn="l" rtl="0" eaLnBrk="0" fontAlgn="base" hangingPunct="0">
              <a:spcBef>
                <a:spcPct val="50000"/>
              </a:spcBef>
              <a:spcAft>
                <a:spcPct val="0"/>
              </a:spcAft>
              <a:buClr>
                <a:schemeClr val="tx1"/>
              </a:buClr>
              <a:buFont typeface="Wingdings" pitchFamily="2" charset="2"/>
              <a:buChar char="§"/>
              <a:defRPr sz="2000">
                <a:solidFill>
                  <a:schemeClr val="tx1"/>
                </a:solidFill>
                <a:latin typeface="+mn-lt"/>
                <a:ea typeface="ＭＳ Ｐゴシック" pitchFamily="34" charset="-128"/>
                <a:cs typeface="ＭＳ Ｐゴシック" charset="0"/>
              </a:defRPr>
            </a:lvl1pPr>
            <a:lvl2pPr marL="509588" indent="-163513" algn="l" rtl="0" eaLnBrk="0" fontAlgn="base" hangingPunct="0">
              <a:spcBef>
                <a:spcPct val="0"/>
              </a:spcBef>
              <a:spcAft>
                <a:spcPct val="0"/>
              </a:spcAft>
              <a:buClr>
                <a:schemeClr val="tx1"/>
              </a:buClr>
              <a:buFont typeface="Arial" pitchFamily="34" charset="0"/>
              <a:buChar char="–"/>
              <a:defRPr>
                <a:solidFill>
                  <a:schemeClr val="tx1"/>
                </a:solidFill>
                <a:latin typeface="+mn-lt"/>
                <a:ea typeface="ＭＳ Ｐゴシック" pitchFamily="34" charset="-128"/>
              </a:defRPr>
            </a:lvl2pPr>
            <a:lvl3pPr marL="855663" indent="-173038" algn="l" rtl="0" eaLnBrk="0" fontAlgn="base" hangingPunct="0">
              <a:spcBef>
                <a:spcPct val="0"/>
              </a:spcBef>
              <a:spcAft>
                <a:spcPct val="0"/>
              </a:spcAft>
              <a:buClr>
                <a:schemeClr val="tx1"/>
              </a:buClr>
              <a:buChar char="•"/>
              <a:defRPr sz="1600">
                <a:solidFill>
                  <a:schemeClr val="tx1"/>
                </a:solidFill>
                <a:latin typeface="+mn-lt"/>
                <a:ea typeface="ＭＳ Ｐゴシック" pitchFamily="34" charset="-128"/>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ＭＳ Ｐゴシック" pitchFamily="34" charset="-128"/>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ＭＳ Ｐゴシック" pitchFamily="34" charset="-128"/>
              </a:defRPr>
            </a:lvl5pPr>
            <a:lvl6pPr marL="1997075" indent="-163513" algn="l" rtl="0" fontAlgn="base">
              <a:spcBef>
                <a:spcPct val="20000"/>
              </a:spcBef>
              <a:spcAft>
                <a:spcPct val="0"/>
              </a:spcAft>
              <a:buClr>
                <a:schemeClr val="bg1"/>
              </a:buClr>
              <a:buChar char="»"/>
              <a:defRPr sz="1600">
                <a:solidFill>
                  <a:schemeClr val="bg1"/>
                </a:solidFill>
                <a:latin typeface="+mn-lt"/>
                <a:ea typeface="+mn-ea"/>
              </a:defRPr>
            </a:lvl6pPr>
            <a:lvl7pPr marL="2454275" indent="-163513" algn="l" rtl="0" fontAlgn="base">
              <a:spcBef>
                <a:spcPct val="20000"/>
              </a:spcBef>
              <a:spcAft>
                <a:spcPct val="0"/>
              </a:spcAft>
              <a:buClr>
                <a:schemeClr val="bg1"/>
              </a:buClr>
              <a:buChar char="»"/>
              <a:defRPr sz="1600">
                <a:solidFill>
                  <a:schemeClr val="bg1"/>
                </a:solidFill>
                <a:latin typeface="+mn-lt"/>
                <a:ea typeface="+mn-ea"/>
              </a:defRPr>
            </a:lvl7pPr>
            <a:lvl8pPr marL="2911475" indent="-163513" algn="l" rtl="0" fontAlgn="base">
              <a:spcBef>
                <a:spcPct val="20000"/>
              </a:spcBef>
              <a:spcAft>
                <a:spcPct val="0"/>
              </a:spcAft>
              <a:buClr>
                <a:schemeClr val="bg1"/>
              </a:buClr>
              <a:buChar char="»"/>
              <a:defRPr sz="1600">
                <a:solidFill>
                  <a:schemeClr val="bg1"/>
                </a:solidFill>
                <a:latin typeface="+mn-lt"/>
                <a:ea typeface="+mn-ea"/>
              </a:defRPr>
            </a:lvl8pPr>
            <a:lvl9pPr marL="3368675" indent="-163513" algn="l" rtl="0" fontAlgn="base">
              <a:spcBef>
                <a:spcPct val="20000"/>
              </a:spcBef>
              <a:spcAft>
                <a:spcPct val="0"/>
              </a:spcAft>
              <a:buClr>
                <a:schemeClr val="bg1"/>
              </a:buClr>
              <a:buChar char="»"/>
              <a:defRPr sz="1600">
                <a:solidFill>
                  <a:schemeClr val="bg1"/>
                </a:solidFill>
                <a:latin typeface="+mn-lt"/>
                <a:ea typeface="+mn-ea"/>
              </a:defRPr>
            </a:lvl9pPr>
          </a:lstStyle>
          <a:p>
            <a:pPr marL="0" indent="0" algn="ctr">
              <a:buFont typeface="Wingdings" pitchFamily="2" charset="2"/>
              <a:buNone/>
              <a:defRPr/>
            </a:pPr>
            <a:r>
              <a:rPr lang="en-US" sz="1600" b="1" kern="0" dirty="0" smtClean="0">
                <a:solidFill>
                  <a:schemeClr val="accent1">
                    <a:lumMod val="75000"/>
                  </a:schemeClr>
                </a:solidFill>
              </a:rPr>
              <a:t>40,000+ cloud consultants and experts</a:t>
            </a:r>
            <a:endParaRPr lang="en-US" sz="1600" b="1" kern="0" dirty="0">
              <a:solidFill>
                <a:schemeClr val="accent1">
                  <a:lumMod val="75000"/>
                </a:schemeClr>
              </a:solidFill>
            </a:endParaRPr>
          </a:p>
        </p:txBody>
      </p:sp>
      <p:sp>
        <p:nvSpPr>
          <p:cNvPr id="11" name="Text Placeholder 3"/>
          <p:cNvSpPr txBox="1">
            <a:spLocks/>
          </p:cNvSpPr>
          <p:nvPr/>
        </p:nvSpPr>
        <p:spPr bwMode="auto">
          <a:xfrm>
            <a:off x="6448426" y="2031855"/>
            <a:ext cx="2428947" cy="2838725"/>
          </a:xfrm>
          <a:prstGeom prst="rect">
            <a:avLst/>
          </a:prstGeom>
          <a:solidFill>
            <a:schemeClr val="bg1">
              <a:lumMod val="95000"/>
            </a:schemeClr>
          </a:solidFill>
          <a:ln/>
          <a:extLst/>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anchor="t" anchorCtr="0" compatLnSpc="1">
            <a:prstTxWarp prst="textNoShape">
              <a:avLst/>
            </a:prstTxWarp>
            <a:normAutofit fontScale="92500"/>
          </a:bodyPr>
          <a:lstStyle>
            <a:lvl1pPr marL="173038" indent="-173038" algn="l" rtl="0" eaLnBrk="0" fontAlgn="base" hangingPunct="0">
              <a:spcBef>
                <a:spcPct val="50000"/>
              </a:spcBef>
              <a:spcAft>
                <a:spcPct val="0"/>
              </a:spcAft>
              <a:buClr>
                <a:schemeClr val="tx1"/>
              </a:buClr>
              <a:buFont typeface="Wingdings" pitchFamily="2" charset="2"/>
              <a:buChar char="§"/>
              <a:defRPr sz="2000">
                <a:solidFill>
                  <a:schemeClr val="tx1"/>
                </a:solidFill>
                <a:latin typeface="+mn-lt"/>
                <a:ea typeface="ＭＳ Ｐゴシック" pitchFamily="34" charset="-128"/>
                <a:cs typeface="ＭＳ Ｐゴシック" charset="0"/>
              </a:defRPr>
            </a:lvl1pPr>
            <a:lvl2pPr marL="509588" indent="-163513" algn="l" rtl="0" eaLnBrk="0" fontAlgn="base" hangingPunct="0">
              <a:spcBef>
                <a:spcPct val="0"/>
              </a:spcBef>
              <a:spcAft>
                <a:spcPct val="0"/>
              </a:spcAft>
              <a:buClr>
                <a:schemeClr val="tx1"/>
              </a:buClr>
              <a:buFont typeface="Arial" pitchFamily="34" charset="0"/>
              <a:buChar char="–"/>
              <a:defRPr>
                <a:solidFill>
                  <a:schemeClr val="tx1"/>
                </a:solidFill>
                <a:latin typeface="+mn-lt"/>
                <a:ea typeface="ＭＳ Ｐゴシック" pitchFamily="34" charset="-128"/>
              </a:defRPr>
            </a:lvl2pPr>
            <a:lvl3pPr marL="855663" indent="-173038" algn="l" rtl="0" eaLnBrk="0" fontAlgn="base" hangingPunct="0">
              <a:spcBef>
                <a:spcPct val="0"/>
              </a:spcBef>
              <a:spcAft>
                <a:spcPct val="0"/>
              </a:spcAft>
              <a:buClr>
                <a:schemeClr val="tx1"/>
              </a:buClr>
              <a:buChar char="•"/>
              <a:defRPr sz="1600">
                <a:solidFill>
                  <a:schemeClr val="tx1"/>
                </a:solidFill>
                <a:latin typeface="+mn-lt"/>
                <a:ea typeface="ＭＳ Ｐゴシック" pitchFamily="34" charset="-128"/>
              </a:defRPr>
            </a:lvl3pPr>
            <a:lvl4pPr marL="1203325" indent="-173038" algn="l" rtl="0" eaLnBrk="0" fontAlgn="base" hangingPunct="0">
              <a:spcBef>
                <a:spcPct val="20000"/>
              </a:spcBef>
              <a:spcAft>
                <a:spcPct val="0"/>
              </a:spcAft>
              <a:buClr>
                <a:schemeClr val="bg1"/>
              </a:buClr>
              <a:defRPr sz="1600">
                <a:solidFill>
                  <a:schemeClr val="bg1"/>
                </a:solidFill>
                <a:latin typeface="+mn-lt"/>
                <a:ea typeface="ＭＳ Ｐゴシック" pitchFamily="34" charset="-128"/>
              </a:defRPr>
            </a:lvl4pPr>
            <a:lvl5pPr marL="1539875" indent="-163513" algn="l" rtl="0" eaLnBrk="0" fontAlgn="base" hangingPunct="0">
              <a:spcBef>
                <a:spcPct val="20000"/>
              </a:spcBef>
              <a:spcAft>
                <a:spcPct val="0"/>
              </a:spcAft>
              <a:buClr>
                <a:schemeClr val="bg1"/>
              </a:buClr>
              <a:buChar char="»"/>
              <a:defRPr sz="1600">
                <a:solidFill>
                  <a:schemeClr val="bg1"/>
                </a:solidFill>
                <a:latin typeface="+mn-lt"/>
                <a:ea typeface="ＭＳ Ｐゴシック" pitchFamily="34" charset="-128"/>
              </a:defRPr>
            </a:lvl5pPr>
            <a:lvl6pPr marL="1997075" indent="-163513" algn="l" rtl="0" fontAlgn="base">
              <a:spcBef>
                <a:spcPct val="20000"/>
              </a:spcBef>
              <a:spcAft>
                <a:spcPct val="0"/>
              </a:spcAft>
              <a:buClr>
                <a:schemeClr val="bg1"/>
              </a:buClr>
              <a:buChar char="»"/>
              <a:defRPr sz="1600">
                <a:solidFill>
                  <a:schemeClr val="bg1"/>
                </a:solidFill>
                <a:latin typeface="+mn-lt"/>
                <a:ea typeface="+mn-ea"/>
              </a:defRPr>
            </a:lvl6pPr>
            <a:lvl7pPr marL="2454275" indent="-163513" algn="l" rtl="0" fontAlgn="base">
              <a:spcBef>
                <a:spcPct val="20000"/>
              </a:spcBef>
              <a:spcAft>
                <a:spcPct val="0"/>
              </a:spcAft>
              <a:buClr>
                <a:schemeClr val="bg1"/>
              </a:buClr>
              <a:buChar char="»"/>
              <a:defRPr sz="1600">
                <a:solidFill>
                  <a:schemeClr val="bg1"/>
                </a:solidFill>
                <a:latin typeface="+mn-lt"/>
                <a:ea typeface="+mn-ea"/>
              </a:defRPr>
            </a:lvl7pPr>
            <a:lvl8pPr marL="2911475" indent="-163513" algn="l" rtl="0" fontAlgn="base">
              <a:spcBef>
                <a:spcPct val="20000"/>
              </a:spcBef>
              <a:spcAft>
                <a:spcPct val="0"/>
              </a:spcAft>
              <a:buClr>
                <a:schemeClr val="bg1"/>
              </a:buClr>
              <a:buChar char="»"/>
              <a:defRPr sz="1600">
                <a:solidFill>
                  <a:schemeClr val="bg1"/>
                </a:solidFill>
                <a:latin typeface="+mn-lt"/>
                <a:ea typeface="+mn-ea"/>
              </a:defRPr>
            </a:lvl8pPr>
            <a:lvl9pPr marL="3368675" indent="-163513" algn="l" rtl="0" fontAlgn="base">
              <a:spcBef>
                <a:spcPct val="20000"/>
              </a:spcBef>
              <a:spcAft>
                <a:spcPct val="0"/>
              </a:spcAft>
              <a:buClr>
                <a:schemeClr val="bg1"/>
              </a:buClr>
              <a:buChar char="»"/>
              <a:defRPr sz="1600">
                <a:solidFill>
                  <a:schemeClr val="bg1"/>
                </a:solidFill>
                <a:latin typeface="+mn-lt"/>
                <a:ea typeface="+mn-ea"/>
              </a:defRPr>
            </a:lvl9pPr>
          </a:lstStyle>
          <a:p>
            <a:r>
              <a:rPr lang="en-US" sz="1800" b="1" kern="0" dirty="0" smtClean="0">
                <a:solidFill>
                  <a:schemeClr val="accent1">
                    <a:lumMod val="75000"/>
                  </a:schemeClr>
                </a:solidFill>
              </a:rPr>
              <a:t>Choice of deployment; public, private and hybrid</a:t>
            </a:r>
          </a:p>
          <a:p>
            <a:r>
              <a:rPr lang="en-US" sz="1800" b="1" kern="0" dirty="0" smtClean="0">
                <a:solidFill>
                  <a:schemeClr val="accent1">
                    <a:lumMod val="75000"/>
                  </a:schemeClr>
                </a:solidFill>
              </a:rPr>
              <a:t>Modular services to fit your need</a:t>
            </a:r>
          </a:p>
          <a:p>
            <a:r>
              <a:rPr lang="en-US" sz="1800" b="1" kern="0" dirty="0" smtClean="0">
                <a:solidFill>
                  <a:schemeClr val="accent1">
                    <a:lumMod val="75000"/>
                  </a:schemeClr>
                </a:solidFill>
              </a:rPr>
              <a:t>Envision, build and deploy, manage and transform with expert services</a:t>
            </a:r>
            <a:endParaRPr lang="en-US" sz="1800" b="1" kern="0" dirty="0">
              <a:solidFill>
                <a:schemeClr val="accent1">
                  <a:lumMod val="75000"/>
                </a:schemeClr>
              </a:solidFill>
            </a:endParaRPr>
          </a:p>
        </p:txBody>
      </p:sp>
      <p:pic>
        <p:nvPicPr>
          <p:cNvPr id="3" name="Picture 2"/>
          <p:cNvPicPr>
            <a:picLocks noChangeAspect="1"/>
          </p:cNvPicPr>
          <p:nvPr/>
        </p:nvPicPr>
        <p:blipFill>
          <a:blip r:embed="rId3"/>
          <a:stretch>
            <a:fillRect/>
          </a:stretch>
        </p:blipFill>
        <p:spPr>
          <a:xfrm>
            <a:off x="6978096" y="640"/>
            <a:ext cx="1323661" cy="934047"/>
          </a:xfrm>
          <a:prstGeom prst="rect">
            <a:avLst/>
          </a:prstGeom>
        </p:spPr>
      </p:pic>
    </p:spTree>
    <p:extLst>
      <p:ext uri="{BB962C8B-B14F-4D97-AF65-F5344CB8AC3E}">
        <p14:creationId xmlns:p14="http://schemas.microsoft.com/office/powerpoint/2010/main" val="1588953177"/>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solidFill>
                  <a:srgbClr val="000202"/>
                </a:solidFill>
              </a:rPr>
              <a:t>The IBM </a:t>
            </a:r>
            <a:r>
              <a:rPr lang="en-US" dirty="0" smtClean="0">
                <a:solidFill>
                  <a:srgbClr val="000202"/>
                </a:solidFill>
              </a:rPr>
              <a:t>Cloud</a:t>
            </a:r>
            <a:endParaRPr lang="en-US" dirty="0"/>
          </a:p>
        </p:txBody>
      </p:sp>
      <p:sp>
        <p:nvSpPr>
          <p:cNvPr id="110" name="Shape 110"/>
          <p:cNvSpPr>
            <a:spLocks noGrp="1"/>
          </p:cNvSpPr>
          <p:nvPr>
            <p:ph idx="1"/>
          </p:nvPr>
        </p:nvSpPr>
        <p:spPr>
          <a:xfrm>
            <a:off x="266700" y="972743"/>
            <a:ext cx="4277750" cy="1011179"/>
          </a:xfrm>
          <a:prstGeom prst="rect">
            <a:avLst/>
          </a:prstGeom>
        </p:spPr>
        <p:txBody>
          <a:bodyPr>
            <a:normAutofit/>
          </a:bodyPr>
          <a:lstStyle/>
          <a:p>
            <a:pPr marL="0" lvl="0" indent="0" defTabSz="868680">
              <a:buSzTx/>
              <a:buNone/>
              <a:defRPr sz="1800"/>
            </a:pPr>
            <a:r>
              <a:rPr sz="1710" dirty="0"/>
              <a:t>- “Bare-metal” outperforms virtualized</a:t>
            </a:r>
          </a:p>
          <a:p>
            <a:pPr marL="0" lvl="0" indent="0" defTabSz="868680">
              <a:buSzTx/>
              <a:buNone/>
              <a:defRPr sz="1800"/>
            </a:pPr>
            <a:r>
              <a:rPr sz="1710" dirty="0"/>
              <a:t>- Dedicated hardware</a:t>
            </a:r>
          </a:p>
          <a:p>
            <a:pPr marL="0" lvl="0" indent="0" defTabSz="868680">
              <a:buSzTx/>
              <a:buNone/>
              <a:defRPr sz="1800"/>
            </a:pPr>
            <a:r>
              <a:rPr sz="1710" dirty="0"/>
              <a:t>- 40 data centers worldwide</a:t>
            </a:r>
          </a:p>
        </p:txBody>
      </p:sp>
      <p:pic>
        <p:nvPicPr>
          <p:cNvPr id="111" name="image10.png"/>
          <p:cNvPicPr/>
          <p:nvPr/>
        </p:nvPicPr>
        <p:blipFill>
          <a:blip r:embed="rId2">
            <a:extLst/>
          </a:blip>
          <a:stretch>
            <a:fillRect/>
          </a:stretch>
        </p:blipFill>
        <p:spPr>
          <a:xfrm>
            <a:off x="5772397" y="440872"/>
            <a:ext cx="2105096" cy="904857"/>
          </a:xfrm>
          <a:prstGeom prst="rect">
            <a:avLst/>
          </a:prstGeom>
          <a:ln w="12700">
            <a:miter lim="400000"/>
          </a:ln>
        </p:spPr>
      </p:pic>
      <p:pic>
        <p:nvPicPr>
          <p:cNvPr id="112" name="image14.png"/>
          <p:cNvPicPr/>
          <p:nvPr/>
        </p:nvPicPr>
        <p:blipFill>
          <a:blip r:embed="rId3" cstate="screen">
            <a:extLst>
              <a:ext uri="{28A0092B-C50C-407E-A947-70E740481C1C}">
                <a14:useLocalDpi xmlns:a14="http://schemas.microsoft.com/office/drawing/2010/main"/>
              </a:ext>
            </a:extLst>
          </a:blip>
          <a:stretch>
            <a:fillRect/>
          </a:stretch>
        </p:blipFill>
        <p:spPr>
          <a:xfrm>
            <a:off x="777668" y="2201729"/>
            <a:ext cx="7614064" cy="2269146"/>
          </a:xfrm>
          <a:prstGeom prst="rect">
            <a:avLst/>
          </a:prstGeom>
          <a:ln>
            <a:solidFill>
              <a:srgbClr val="ABC4E9"/>
            </a:solidFill>
            <a:miter/>
          </a:ln>
        </p:spPr>
      </p:pic>
      <p:sp>
        <p:nvSpPr>
          <p:cNvPr id="3" name="Oval 2"/>
          <p:cNvSpPr/>
          <p:nvPr/>
        </p:nvSpPr>
        <p:spPr>
          <a:xfrm>
            <a:off x="6643505" y="3597953"/>
            <a:ext cx="1133489" cy="519345"/>
          </a:xfrm>
          <a:prstGeom prst="ellipse">
            <a:avLst/>
          </a:prstGeom>
          <a:noFill/>
          <a:ln w="25400" cap="flat">
            <a:solidFill>
              <a:schemeClr val="accent1">
                <a:lumMod val="50000"/>
              </a:schemeClr>
            </a:solidFill>
            <a:prstDash val="solid"/>
            <a:bevel/>
          </a:ln>
          <a:effectLst>
            <a:outerShdw blurRad="38100" dist="23000" dir="5400000" rotWithShape="0">
              <a:srgbClr val="000000">
                <a:alpha val="35000"/>
              </a:srgbClr>
            </a:outerShdw>
          </a:effectLst>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l" defTabSz="4572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000000"/>
              </a:solidFill>
              <a:effectLst/>
              <a:uFillTx/>
              <a:latin typeface="+mn-lt"/>
              <a:ea typeface="+mn-ea"/>
              <a:cs typeface="+mn-cs"/>
              <a:sym typeface="Helvetica Neue"/>
            </a:endParaRPr>
          </a:p>
        </p:txBody>
      </p:sp>
      <p:sp>
        <p:nvSpPr>
          <p:cNvPr id="9" name="Shape 110"/>
          <p:cNvSpPr txBox="1">
            <a:spLocks/>
          </p:cNvSpPr>
          <p:nvPr/>
        </p:nvSpPr>
        <p:spPr>
          <a:xfrm>
            <a:off x="4504628" y="1559679"/>
            <a:ext cx="4277750" cy="424243"/>
          </a:xfrm>
          <a:prstGeom prst="rect">
            <a:avLst/>
          </a:prstGeom>
        </p:spPr>
        <p:txBody>
          <a:bodyPr>
            <a:normAutofit/>
          </a:bodyPr>
          <a:lstStyle>
            <a:lvl1pPr marL="342900" indent="-342900" defTabSz="457200">
              <a:spcBef>
                <a:spcPts val="500"/>
              </a:spcBef>
              <a:buClr>
                <a:srgbClr val="34B1EC"/>
              </a:buClr>
              <a:buFont typeface="Wingdings" charset="2"/>
              <a:buChar char="§"/>
              <a:defRPr sz="1800" b="1">
                <a:latin typeface="HelvNeue Roman for IBM"/>
                <a:ea typeface="HelvNeue Roman for IBM"/>
                <a:cs typeface="HelvNeue Roman for IBM"/>
                <a:sym typeface="HelvNeue Roman for IBM"/>
              </a:defRPr>
            </a:lvl1pPr>
            <a:lvl2pPr marL="914400" indent="-342900" defTabSz="457200">
              <a:spcBef>
                <a:spcPts val="500"/>
              </a:spcBef>
              <a:buClr>
                <a:srgbClr val="34B1EC"/>
              </a:buClr>
              <a:buFont typeface="Arial"/>
              <a:buChar char="•"/>
              <a:defRPr sz="1600">
                <a:latin typeface="HelvNeue Roman for IBM"/>
                <a:ea typeface="HelvNeue Roman for IBM"/>
                <a:cs typeface="HelvNeue Roman for IBM"/>
                <a:sym typeface="HelvNeue Roman for IBM"/>
              </a:defRPr>
            </a:lvl2pPr>
            <a:lvl3pPr marL="1206500" indent="-285750" defTabSz="457200">
              <a:spcBef>
                <a:spcPts val="500"/>
              </a:spcBef>
              <a:buClr>
                <a:srgbClr val="34B1EC"/>
              </a:buClr>
              <a:buFont typeface="Lucida Grande"/>
              <a:buChar char="-"/>
              <a:defRPr sz="1400">
                <a:latin typeface="HelvNeue Roman for IBM"/>
                <a:ea typeface="HelvNeue Roman for IBM"/>
                <a:cs typeface="HelvNeue Roman for IBM"/>
                <a:sym typeface="HelvNeue Roman for IBM"/>
              </a:defRPr>
            </a:lvl3pPr>
            <a:lvl4pPr marL="342900" indent="-342900" defTabSz="457200">
              <a:spcBef>
                <a:spcPts val="500"/>
              </a:spcBef>
              <a:buClr>
                <a:srgbClr val="34B1EC"/>
              </a:buClr>
              <a:buFont typeface="Arial"/>
              <a:buChar char="•"/>
              <a:defRPr sz="2200">
                <a:latin typeface="HelvNeue Roman for IBM"/>
                <a:ea typeface="HelvNeue Roman for IBM"/>
                <a:cs typeface="HelvNeue Roman for IBM"/>
                <a:sym typeface="HelvNeue Roman for IBM"/>
              </a:defRPr>
            </a:lvl4pPr>
            <a:lvl5pPr marL="342900" indent="-342900" defTabSz="457200">
              <a:spcBef>
                <a:spcPts val="500"/>
              </a:spcBef>
              <a:buClr>
                <a:srgbClr val="34B1EC"/>
              </a:buClr>
              <a:buFont typeface="Arial"/>
              <a:buChar char="•"/>
              <a:defRPr sz="2200">
                <a:latin typeface="HelvNeue Roman for IBM"/>
                <a:ea typeface="HelvNeue Roman for IBM"/>
                <a:cs typeface="HelvNeue Roman for IBM"/>
                <a:sym typeface="HelvNeue Roman for IBM"/>
              </a:defRPr>
            </a:lvl5pPr>
            <a:lvl6pPr indent="2286000" defTabSz="457200">
              <a:spcBef>
                <a:spcPts val="500"/>
              </a:spcBef>
              <a:buClr>
                <a:srgbClr val="34B1EC"/>
              </a:buClr>
              <a:buFont typeface="Arial"/>
              <a:defRPr sz="2200">
                <a:latin typeface="HelvNeue Roman for IBM"/>
                <a:ea typeface="HelvNeue Roman for IBM"/>
                <a:cs typeface="HelvNeue Roman for IBM"/>
                <a:sym typeface="HelvNeue Roman for IBM"/>
              </a:defRPr>
            </a:lvl6pPr>
            <a:lvl7pPr indent="2743200" defTabSz="457200">
              <a:spcBef>
                <a:spcPts val="500"/>
              </a:spcBef>
              <a:buClr>
                <a:srgbClr val="34B1EC"/>
              </a:buClr>
              <a:buFont typeface="Arial"/>
              <a:defRPr sz="2200">
                <a:latin typeface="HelvNeue Roman for IBM"/>
                <a:ea typeface="HelvNeue Roman for IBM"/>
                <a:cs typeface="HelvNeue Roman for IBM"/>
                <a:sym typeface="HelvNeue Roman for IBM"/>
              </a:defRPr>
            </a:lvl7pPr>
            <a:lvl8pPr indent="3200400" defTabSz="457200">
              <a:spcBef>
                <a:spcPts val="500"/>
              </a:spcBef>
              <a:buClr>
                <a:srgbClr val="34B1EC"/>
              </a:buClr>
              <a:buFont typeface="Arial"/>
              <a:defRPr sz="2200">
                <a:latin typeface="HelvNeue Roman for IBM"/>
                <a:ea typeface="HelvNeue Roman for IBM"/>
                <a:cs typeface="HelvNeue Roman for IBM"/>
                <a:sym typeface="HelvNeue Roman for IBM"/>
              </a:defRPr>
            </a:lvl8pPr>
            <a:lvl9pPr indent="3657600" defTabSz="457200">
              <a:spcBef>
                <a:spcPts val="500"/>
              </a:spcBef>
              <a:buClr>
                <a:srgbClr val="34B1EC"/>
              </a:buClr>
              <a:buFont typeface="Arial"/>
              <a:defRPr sz="2200">
                <a:latin typeface="HelvNeue Roman for IBM"/>
                <a:ea typeface="HelvNeue Roman for IBM"/>
                <a:cs typeface="HelvNeue Roman for IBM"/>
                <a:sym typeface="HelvNeue Roman for IBM"/>
              </a:defRPr>
            </a:lvl9pPr>
          </a:lstStyle>
          <a:p>
            <a:pPr marL="0" indent="0" algn="ctr" defTabSz="868680">
              <a:buFont typeface="Wingdings" charset="2"/>
              <a:buNone/>
              <a:defRPr sz="1800"/>
            </a:pPr>
            <a:r>
              <a:rPr lang="en-US" sz="1710" i="1" dirty="0" smtClean="0">
                <a:solidFill>
                  <a:schemeClr val="accent1">
                    <a:lumMod val="75000"/>
                  </a:schemeClr>
                </a:solidFill>
              </a:rPr>
              <a:t>Data Centers in Sydney &amp; Melbourne</a:t>
            </a:r>
            <a:endParaRPr lang="en-US" sz="1710" i="1" dirty="0">
              <a:solidFill>
                <a:schemeClr val="accent1">
                  <a:lumMod val="75000"/>
                </a:schemeClr>
              </a:solidFill>
            </a:endParaRPr>
          </a:p>
        </p:txBody>
      </p:sp>
      <p:cxnSp>
        <p:nvCxnSpPr>
          <p:cNvPr id="6" name="Straight Arrow Connector 5"/>
          <p:cNvCxnSpPr>
            <a:endCxn id="3" idx="0"/>
          </p:cNvCxnSpPr>
          <p:nvPr/>
        </p:nvCxnSpPr>
        <p:spPr>
          <a:xfrm>
            <a:off x="7210249" y="1983921"/>
            <a:ext cx="1" cy="1614032"/>
          </a:xfrm>
          <a:prstGeom prst="straightConnector1">
            <a:avLst/>
          </a:prstGeom>
          <a:noFill/>
          <a:ln w="25400" cap="flat">
            <a:solidFill>
              <a:srgbClr val="0C5D84"/>
            </a:solidFill>
            <a:prstDash val="solid"/>
            <a:bevel/>
            <a:tailEnd type="arrow"/>
          </a:ln>
          <a:effectLst>
            <a:outerShdw blurRad="38100" dist="23000" dir="5400000" rotWithShape="0">
              <a:srgbClr val="000000">
                <a:alpha val="35000"/>
              </a:srgbClr>
            </a:outerShdw>
          </a:effectLst>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254828128"/>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dUut6hsA0SuC5mu9Bs5x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dUut6hsA0SuC5mu9Bs5x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dUut6hsA0SuC5mu9Bs5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a:themeElements>
    <a:clrScheme name="Default">
      <a:dk1>
        <a:srgbClr val="000000"/>
      </a:dk1>
      <a:lt1>
        <a:srgbClr val="FFFFFF"/>
      </a:lt1>
      <a:dk2>
        <a:srgbClr val="A7A7A7"/>
      </a:dk2>
      <a:lt2>
        <a:srgbClr val="535353"/>
      </a:lt2>
      <a:accent1>
        <a:srgbClr val="34B1EC"/>
      </a:accent1>
      <a:accent2>
        <a:srgbClr val="7F1C7D"/>
      </a:accent2>
      <a:accent3>
        <a:srgbClr val="F04E37"/>
      </a:accent3>
      <a:accent4>
        <a:srgbClr val="17AF4B"/>
      </a:accent4>
      <a:accent5>
        <a:srgbClr val="AB1A86"/>
      </a:accent5>
      <a:accent6>
        <a:srgbClr val="9DD0F3"/>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34B1EC"/>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45718" tIns="45718" rIns="45718" bIns="45718"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34B1EC"/>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8" tIns="45718" rIns="45718" bIns="45718"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3_Plaza">
  <a:themeElements>
    <a:clrScheme name="Custom 3">
      <a:dk1>
        <a:sysClr val="windowText" lastClr="000000"/>
      </a:dk1>
      <a:lt1>
        <a:sysClr val="window" lastClr="FFFFFF"/>
      </a:lt1>
      <a:dk2>
        <a:srgbClr val="3E3D2D"/>
      </a:dk2>
      <a:lt2>
        <a:srgbClr val="CAF278"/>
      </a:lt2>
      <a:accent1>
        <a:srgbClr val="94C600"/>
      </a:accent1>
      <a:accent2>
        <a:srgbClr val="005878"/>
      </a:accent2>
      <a:accent3>
        <a:srgbClr val="4471B7"/>
      </a:accent3>
      <a:accent4>
        <a:srgbClr val="ADA598"/>
      </a:accent4>
      <a:accent5>
        <a:srgbClr val="333399"/>
      </a:accent5>
      <a:accent6>
        <a:srgbClr val="F68100"/>
      </a:accent6>
      <a:hlink>
        <a:srgbClr val="00B0F0"/>
      </a:hlink>
      <a:folHlink>
        <a:srgbClr val="00B0F0"/>
      </a:folHlink>
    </a:clrScheme>
    <a:fontScheme name="Plaza">
      <a:majorFont>
        <a:latin typeface="Century Gothic"/>
        <a:ea typeface=""/>
        <a:cs typeface=""/>
        <a:font script="Jpan" typeface="メイリオ"/>
      </a:majorFont>
      <a:minorFont>
        <a:latin typeface="Century Gothic"/>
        <a:ea typeface=""/>
        <a:cs typeface=""/>
        <a:font script="Jpan" typeface="メイリオ"/>
      </a:minorFont>
    </a:fontScheme>
    <a:fmtScheme name="Plaza">
      <a:fillStyleLst>
        <a:solidFill>
          <a:schemeClr val="phClr"/>
        </a:solidFill>
        <a:gradFill rotWithShape="1">
          <a:gsLst>
            <a:gs pos="0">
              <a:schemeClr val="phClr">
                <a:tint val="100000"/>
                <a:shade val="60000"/>
                <a:satMod val="135000"/>
              </a:schemeClr>
            </a:gs>
            <a:gs pos="100000">
              <a:schemeClr val="phClr">
                <a:tint val="100000"/>
                <a:shade val="100000"/>
                <a:satMod val="135000"/>
              </a:schemeClr>
            </a:gs>
          </a:gsLst>
          <a:lin ang="16200000" scaled="1"/>
        </a:gradFill>
        <a:gradFill rotWithShape="1">
          <a:gsLst>
            <a:gs pos="0">
              <a:schemeClr val="phClr">
                <a:shade val="70000"/>
                <a:satMod val="120000"/>
              </a:schemeClr>
            </a:gs>
            <a:gs pos="35000">
              <a:schemeClr val="phClr">
                <a:shade val="100000"/>
                <a:satMod val="150000"/>
              </a:schemeClr>
            </a:gs>
            <a:gs pos="70000">
              <a:schemeClr val="phClr">
                <a:tint val="100000"/>
                <a:shade val="100000"/>
                <a:satMod val="200000"/>
                <a:greenMod val="100000"/>
              </a:schemeClr>
            </a:gs>
            <a:gs pos="100000">
              <a:schemeClr val="phClr">
                <a:tint val="100000"/>
                <a:shade val="100000"/>
                <a:satMod val="250000"/>
                <a:greenMod val="100000"/>
              </a:schemeClr>
            </a:gs>
          </a:gsLst>
          <a:lin ang="162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innerShdw blurRad="190500" dist="63500" dir="5400000">
              <a:srgbClr val="FFFFFF">
                <a:alpha val="65000"/>
              </a:srgbClr>
            </a:innerShdw>
          </a:effectLst>
          <a:scene3d>
            <a:camera prst="orthographicFront">
              <a:rot lat="0" lon="0" rev="0"/>
            </a:camera>
            <a:lightRig rig="twoPt" dir="r">
              <a:rot lat="0" lon="0" rev="6000000"/>
            </a:lightRig>
          </a:scene3d>
          <a:sp3d prstMaterial="matte">
            <a:bevelT w="0" h="0" prst="relaxedInset"/>
          </a:sp3d>
        </a:effectStyle>
        <a:effectStyle>
          <a:effectLst>
            <a:innerShdw blurRad="50800" dist="25400" dir="13500000">
              <a:srgbClr val="FFFFFF">
                <a:alpha val="75000"/>
              </a:srgbClr>
            </a:innerShdw>
            <a:outerShdw blurRad="88900" dist="38100" dir="6600000" sx="101000" sy="101000" rotWithShape="0">
              <a:srgbClr val="000000">
                <a:alpha val="50000"/>
              </a:srgbClr>
            </a:outerShdw>
          </a:effectLst>
          <a:scene3d>
            <a:camera prst="perspectiveFront" fov="3000000"/>
            <a:lightRig rig="morning" dir="tl">
              <a:rot lat="0" lon="0" rev="1800000"/>
            </a:lightRig>
          </a:scene3d>
          <a:sp3d contourW="38100" prstMaterial="softEdge">
            <a:bevelT w="25400" h="38100"/>
            <a:contourClr>
              <a:schemeClr val="phClr">
                <a:tint val="6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RSG Master">
  <a:themeElements>
    <a:clrScheme name="Custom 3">
      <a:dk1>
        <a:sysClr val="windowText" lastClr="000000"/>
      </a:dk1>
      <a:lt1>
        <a:sysClr val="window" lastClr="FFFFFF"/>
      </a:lt1>
      <a:dk2>
        <a:srgbClr val="3E3D2D"/>
      </a:dk2>
      <a:lt2>
        <a:srgbClr val="CAF278"/>
      </a:lt2>
      <a:accent1>
        <a:srgbClr val="94C600"/>
      </a:accent1>
      <a:accent2>
        <a:srgbClr val="005878"/>
      </a:accent2>
      <a:accent3>
        <a:srgbClr val="4471B7"/>
      </a:accent3>
      <a:accent4>
        <a:srgbClr val="ADA598"/>
      </a:accent4>
      <a:accent5>
        <a:srgbClr val="333399"/>
      </a:accent5>
      <a:accent6>
        <a:srgbClr val="F68100"/>
      </a:accent6>
      <a:hlink>
        <a:srgbClr val="00B0F0"/>
      </a:hlink>
      <a:folHlink>
        <a:srgbClr val="00B0F0"/>
      </a:folHlink>
    </a:clrScheme>
    <a:fontScheme name="Plaza">
      <a:majorFont>
        <a:latin typeface="Century Gothic"/>
        <a:ea typeface=""/>
        <a:cs typeface=""/>
        <a:font script="Jpan" typeface="メイリオ"/>
      </a:majorFont>
      <a:minorFont>
        <a:latin typeface="Century Gothic"/>
        <a:ea typeface=""/>
        <a:cs typeface=""/>
        <a:font script="Jpan" typeface="メイリオ"/>
      </a:minorFont>
    </a:fontScheme>
    <a:fmtScheme name="Plaza">
      <a:fillStyleLst>
        <a:solidFill>
          <a:schemeClr val="phClr"/>
        </a:solidFill>
        <a:gradFill rotWithShape="1">
          <a:gsLst>
            <a:gs pos="0">
              <a:schemeClr val="phClr">
                <a:tint val="100000"/>
                <a:shade val="60000"/>
                <a:satMod val="135000"/>
              </a:schemeClr>
            </a:gs>
            <a:gs pos="100000">
              <a:schemeClr val="phClr">
                <a:tint val="100000"/>
                <a:shade val="100000"/>
                <a:satMod val="135000"/>
              </a:schemeClr>
            </a:gs>
          </a:gsLst>
          <a:lin ang="16200000" scaled="1"/>
        </a:gradFill>
        <a:gradFill rotWithShape="1">
          <a:gsLst>
            <a:gs pos="0">
              <a:schemeClr val="phClr">
                <a:shade val="70000"/>
                <a:satMod val="120000"/>
              </a:schemeClr>
            </a:gs>
            <a:gs pos="35000">
              <a:schemeClr val="phClr">
                <a:shade val="100000"/>
                <a:satMod val="150000"/>
              </a:schemeClr>
            </a:gs>
            <a:gs pos="70000">
              <a:schemeClr val="phClr">
                <a:tint val="100000"/>
                <a:shade val="100000"/>
                <a:satMod val="200000"/>
                <a:greenMod val="100000"/>
              </a:schemeClr>
            </a:gs>
            <a:gs pos="100000">
              <a:schemeClr val="phClr">
                <a:tint val="100000"/>
                <a:shade val="100000"/>
                <a:satMod val="250000"/>
                <a:greenMod val="100000"/>
              </a:schemeClr>
            </a:gs>
          </a:gsLst>
          <a:lin ang="16200000" scaled="1"/>
        </a:gra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innerShdw blurRad="190500" dist="63500" dir="5400000">
              <a:srgbClr val="FFFFFF">
                <a:alpha val="65000"/>
              </a:srgbClr>
            </a:innerShdw>
          </a:effectLst>
          <a:scene3d>
            <a:camera prst="orthographicFront">
              <a:rot lat="0" lon="0" rev="0"/>
            </a:camera>
            <a:lightRig rig="twoPt" dir="r">
              <a:rot lat="0" lon="0" rev="6000000"/>
            </a:lightRig>
          </a:scene3d>
          <a:sp3d prstMaterial="matte">
            <a:bevelT w="0" h="0" prst="relaxedInset"/>
          </a:sp3d>
        </a:effectStyle>
        <a:effectStyle>
          <a:effectLst>
            <a:innerShdw blurRad="50800" dist="25400" dir="13500000">
              <a:srgbClr val="FFFFFF">
                <a:alpha val="75000"/>
              </a:srgbClr>
            </a:innerShdw>
            <a:outerShdw blurRad="88900" dist="38100" dir="6600000" sx="101000" sy="101000" rotWithShape="0">
              <a:srgbClr val="000000">
                <a:alpha val="50000"/>
              </a:srgbClr>
            </a:outerShdw>
          </a:effectLst>
          <a:scene3d>
            <a:camera prst="perspectiveFront" fov="3000000"/>
            <a:lightRig rig="morning" dir="tl">
              <a:rot lat="0" lon="0" rev="1800000"/>
            </a:lightRig>
          </a:scene3d>
          <a:sp3d contourW="38100" prstMaterial="softEdge">
            <a:bevelT w="25400" h="38100"/>
            <a:contourClr>
              <a:schemeClr val="phClr">
                <a:tint val="6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Default">
  <a:themeElements>
    <a:clrScheme name="Default">
      <a:dk1>
        <a:srgbClr val="000000"/>
      </a:dk1>
      <a:lt1>
        <a:srgbClr val="FFFFFF"/>
      </a:lt1>
      <a:dk2>
        <a:srgbClr val="A7A7A7"/>
      </a:dk2>
      <a:lt2>
        <a:srgbClr val="535353"/>
      </a:lt2>
      <a:accent1>
        <a:srgbClr val="34B1EC"/>
      </a:accent1>
      <a:accent2>
        <a:srgbClr val="7F1C7D"/>
      </a:accent2>
      <a:accent3>
        <a:srgbClr val="F04E37"/>
      </a:accent3>
      <a:accent4>
        <a:srgbClr val="17AF4B"/>
      </a:accent4>
      <a:accent5>
        <a:srgbClr val="AB1A86"/>
      </a:accent5>
      <a:accent6>
        <a:srgbClr val="9DD0F3"/>
      </a:accent6>
      <a:hlink>
        <a:srgbClr val="0000FF"/>
      </a:hlink>
      <a:folHlink>
        <a:srgbClr val="FF00FF"/>
      </a:folHlink>
    </a:clrScheme>
    <a:fontScheme name="Default">
      <a:majorFont>
        <a:latin typeface="Helvetica"/>
        <a:ea typeface="Helvetica"/>
        <a:cs typeface="Helvetica"/>
      </a:majorFont>
      <a:minorFont>
        <a:latin typeface="Helvetica Neue"/>
        <a:ea typeface="Helvetica Neue"/>
        <a:cs typeface="Helvetica Neue"/>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34B1EC"/>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45718" tIns="45718" rIns="45718" bIns="45718"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34B1EC"/>
          </a:solidFill>
          <a:prstDash val="solid"/>
          <a:bevel/>
        </a:ln>
        <a:effectLst>
          <a:outerShdw blurRad="38100" dist="23000" dir="5400000" rotWithShape="0">
            <a:srgbClr val="000000">
              <a:alpha val="35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8" tIns="45718" rIns="45718" bIns="45718"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8261</TotalTime>
  <Words>9796</Words>
  <Application>Microsoft Office PowerPoint</Application>
  <PresentationFormat>On-screen Show (16:9)</PresentationFormat>
  <Paragraphs>998</Paragraphs>
  <Slides>70</Slides>
  <Notes>36</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70</vt:i4>
      </vt:variant>
    </vt:vector>
  </HeadingPairs>
  <TitlesOfParts>
    <vt:vector size="74" baseType="lpstr">
      <vt:lpstr>Default</vt:lpstr>
      <vt:lpstr>3_Plaza</vt:lpstr>
      <vt:lpstr>RSG Master</vt:lpstr>
      <vt:lpstr>think-cell Slide</vt:lpstr>
      <vt:lpstr>PowerPoint Presentation</vt:lpstr>
      <vt:lpstr>Today’s Agenda</vt:lpstr>
      <vt:lpstr>PowerPoint Presentation</vt:lpstr>
      <vt:lpstr>Cloud Data Services</vt:lpstr>
      <vt:lpstr>What’s what in the cloud zoo</vt:lpstr>
      <vt:lpstr>IBM Cloud Data Services—Managing data in the cloud</vt:lpstr>
      <vt:lpstr>PowerPoint Presentation</vt:lpstr>
      <vt:lpstr>Some Facts</vt:lpstr>
      <vt:lpstr>The IBM Cloud</vt:lpstr>
      <vt:lpstr>IBM Bluemix</vt:lpstr>
      <vt:lpstr>A complete and growing Portfolio</vt:lpstr>
      <vt:lpstr>PowerPoint Presentation</vt:lpstr>
      <vt:lpstr>PowerPoint Presentation</vt:lpstr>
      <vt:lpstr>PowerPoint Presentation</vt:lpstr>
      <vt:lpstr>PowerPoint Presentation</vt:lpstr>
      <vt:lpstr>Unparalleled security</vt:lpstr>
      <vt:lpstr>Let’s Look At One Offering’s Security Features</vt:lpstr>
      <vt:lpstr>IBM Cloud-based analytics summary</vt:lpstr>
      <vt:lpstr>Moving Forward….</vt:lpstr>
      <vt:lpstr>PowerPoint Presentation</vt:lpstr>
      <vt:lpstr>PowerPoint Presentation</vt:lpstr>
      <vt:lpstr>How to be the smartest cloud person in the room</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 (APRA)</vt:lpstr>
      <vt:lpstr>A journey to Cloud-based Analytics</vt:lpstr>
      <vt:lpstr>A journey to Cloud-based Analytics</vt:lpstr>
      <vt:lpstr>A journey to Cloud-based Analytics</vt:lpstr>
      <vt:lpstr>A journey to Cloud-based Analytics</vt:lpstr>
      <vt:lpstr>A journey to Cloud-based Analytics</vt:lpstr>
      <vt:lpstr>A journey to Cloud-based Analytics</vt:lpstr>
      <vt:lpstr>How to be the smartest cloud person in the room</vt:lpstr>
      <vt:lpstr>PowerPoint Presentation</vt:lpstr>
      <vt:lpstr>PowerPoint Presentation</vt:lpstr>
      <vt:lpstr>Agenda</vt:lpstr>
      <vt:lpstr>PowerPoint Presentation</vt:lpstr>
      <vt:lpstr>What is changing in the realm of big data &amp; analytics?</vt:lpstr>
      <vt:lpstr>The Hadoop Market is Evolving Rapidly</vt:lpstr>
      <vt:lpstr>Open Data Platform Initiative (ODPi)</vt:lpstr>
      <vt:lpstr>PowerPoint Presentation</vt:lpstr>
      <vt:lpstr>IBM Open Platform (IOP)</vt:lpstr>
      <vt:lpstr>IBM Open Platform (IOP) Adopts ODP Core Standards</vt:lpstr>
      <vt:lpstr>Usual story related to Hadoop &amp; Big Data</vt:lpstr>
      <vt:lpstr>IBM BigInsights on Cloud</vt:lpstr>
      <vt:lpstr>IBM BigInsights on Cloud – Scope of Managed Operations</vt:lpstr>
      <vt:lpstr>PowerPoint Presentation</vt:lpstr>
      <vt:lpstr>PowerPoint Presentation</vt:lpstr>
      <vt:lpstr>PowerPoint Presentation</vt:lpstr>
      <vt:lpstr>BigInsights Analyst Module – Detailed</vt:lpstr>
      <vt:lpstr>BigInsights Data Scientist Module – Detailed</vt:lpstr>
      <vt:lpstr>Hadoop Advantages</vt:lpstr>
      <vt:lpstr>Hadoop MapReduce Challenges</vt:lpstr>
      <vt:lpstr>PowerPoint Presentation</vt:lpstr>
      <vt:lpstr>Apache Spark</vt:lpstr>
      <vt:lpstr>Evolving quickly, High Traction</vt:lpstr>
      <vt:lpstr>Key reasons for interest in Spark</vt:lpstr>
      <vt:lpstr>IBM is all-in on its commitment to Spark</vt:lpstr>
      <vt:lpstr>IBM’s vision for IBM Analytics for Apache Spark</vt:lpstr>
      <vt:lpstr>Apache Spark as a Service Offering</vt:lpstr>
      <vt:lpstr>Getting Started</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kosi</dc:creator>
  <cp:lastModifiedBy>ADMINIBM</cp:lastModifiedBy>
  <cp:revision>150</cp:revision>
  <cp:lastPrinted>2015-11-23T23:57:02Z</cp:lastPrinted>
  <dcterms:modified xsi:type="dcterms:W3CDTF">2015-11-30T02:08:59Z</dcterms:modified>
</cp:coreProperties>
</file>